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731" r:id="rId2"/>
  </p:sldMasterIdLst>
  <p:notesMasterIdLst>
    <p:notesMasterId r:id="rId35"/>
  </p:notesMasterIdLst>
  <p:sldIdLst>
    <p:sldId id="356" r:id="rId3"/>
    <p:sldId id="410" r:id="rId4"/>
    <p:sldId id="359" r:id="rId5"/>
    <p:sldId id="468" r:id="rId6"/>
    <p:sldId id="422" r:id="rId7"/>
    <p:sldId id="361" r:id="rId8"/>
    <p:sldId id="365" r:id="rId9"/>
    <p:sldId id="357" r:id="rId10"/>
    <p:sldId id="371" r:id="rId11"/>
    <p:sldId id="360" r:id="rId12"/>
    <p:sldId id="414" r:id="rId13"/>
    <p:sldId id="259" r:id="rId14"/>
    <p:sldId id="420" r:id="rId15"/>
    <p:sldId id="474" r:id="rId16"/>
    <p:sldId id="381" r:id="rId17"/>
    <p:sldId id="376" r:id="rId18"/>
    <p:sldId id="378" r:id="rId19"/>
    <p:sldId id="417" r:id="rId20"/>
    <p:sldId id="404" r:id="rId21"/>
    <p:sldId id="374" r:id="rId22"/>
    <p:sldId id="399" r:id="rId23"/>
    <p:sldId id="398" r:id="rId24"/>
    <p:sldId id="394" r:id="rId25"/>
    <p:sldId id="403" r:id="rId26"/>
    <p:sldId id="386" r:id="rId27"/>
    <p:sldId id="389" r:id="rId28"/>
    <p:sldId id="475" r:id="rId29"/>
    <p:sldId id="476" r:id="rId30"/>
    <p:sldId id="477" r:id="rId31"/>
    <p:sldId id="478" r:id="rId32"/>
    <p:sldId id="340" r:id="rId33"/>
    <p:sldId id="395" r:id="rId34"/>
  </p:sldIdLst>
  <p:sldSz cx="12192000" cy="6858000"/>
  <p:notesSz cx="6858000" cy="9144000"/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A981"/>
    <a:srgbClr val="D97C43"/>
    <a:srgbClr val="C295B4"/>
    <a:srgbClr val="AE779E"/>
    <a:srgbClr val="DFDFE7"/>
    <a:srgbClr val="B9B7CF"/>
    <a:srgbClr val="938BB2"/>
    <a:srgbClr val="5DBFD8"/>
    <a:srgbClr val="00B3D1"/>
    <a:srgbClr val="C7DD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60" autoAdjust="0"/>
    <p:restoredTop sz="93446" autoAdjust="0"/>
  </p:normalViewPr>
  <p:slideViewPr>
    <p:cSldViewPr snapToGrid="0">
      <p:cViewPr varScale="1">
        <p:scale>
          <a:sx n="63" d="100"/>
          <a:sy n="63" d="100"/>
        </p:scale>
        <p:origin x="365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474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738913-DAFA-4162-B3DB-52369A91A682}" type="datetimeFigureOut">
              <a:rPr lang="en-US" smtClean="0"/>
              <a:pPr/>
              <a:t>1/17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348855-CF0B-4E0D-A536-3DCDFD531E5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02430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mk-M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04711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65307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mk-M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02348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mk-M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89729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mk-M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6627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mk-M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20926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mk-M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5147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1139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95079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63381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mk-M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7016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rganization for economic organization cooperation and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64394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rganization for economic organization cooperation and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05910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2794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mk-M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17447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umber of</a:t>
            </a:r>
            <a:r>
              <a:rPr lang="en-US" baseline="0" dirty="0" smtClean="0"/>
              <a:t> RAC systems will double by 205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73952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11799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otal equivalent warming impac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41161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mk-M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8855-CF0B-4E0D-A536-3DCDFD531E59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2156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2830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060698" y="901350"/>
            <a:ext cx="3365202" cy="3365202"/>
          </a:xfrm>
          <a:custGeom>
            <a:avLst/>
            <a:gdLst>
              <a:gd name="connsiteX0" fmla="*/ 0 w 3365202"/>
              <a:gd name="connsiteY0" fmla="*/ 0 h 3365202"/>
              <a:gd name="connsiteX1" fmla="*/ 3365202 w 3365202"/>
              <a:gd name="connsiteY1" fmla="*/ 0 h 3365202"/>
              <a:gd name="connsiteX2" fmla="*/ 3365202 w 3365202"/>
              <a:gd name="connsiteY2" fmla="*/ 1657295 h 3365202"/>
              <a:gd name="connsiteX3" fmla="*/ 1682601 w 3365202"/>
              <a:gd name="connsiteY3" fmla="*/ 1657295 h 3365202"/>
              <a:gd name="connsiteX4" fmla="*/ 1682601 w 3365202"/>
              <a:gd name="connsiteY4" fmla="*/ 3365202 h 3365202"/>
              <a:gd name="connsiteX5" fmla="*/ 0 w 3365202"/>
              <a:gd name="connsiteY5" fmla="*/ 3365202 h 3365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5202" h="3365202">
                <a:moveTo>
                  <a:pt x="0" y="0"/>
                </a:moveTo>
                <a:lnTo>
                  <a:pt x="3365202" y="0"/>
                </a:lnTo>
                <a:lnTo>
                  <a:pt x="3365202" y="1657295"/>
                </a:lnTo>
                <a:lnTo>
                  <a:pt x="1682601" y="1657295"/>
                </a:lnTo>
                <a:lnTo>
                  <a:pt x="1682601" y="3365202"/>
                </a:lnTo>
                <a:lnTo>
                  <a:pt x="0" y="33652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2873576" y="2686932"/>
            <a:ext cx="3365202" cy="3365202"/>
          </a:xfrm>
          <a:custGeom>
            <a:avLst/>
            <a:gdLst>
              <a:gd name="connsiteX0" fmla="*/ 0 w 3365202"/>
              <a:gd name="connsiteY0" fmla="*/ 0 h 3365202"/>
              <a:gd name="connsiteX1" fmla="*/ 3365202 w 3365202"/>
              <a:gd name="connsiteY1" fmla="*/ 0 h 3365202"/>
              <a:gd name="connsiteX2" fmla="*/ 3365202 w 3365202"/>
              <a:gd name="connsiteY2" fmla="*/ 1657295 h 3365202"/>
              <a:gd name="connsiteX3" fmla="*/ 1682601 w 3365202"/>
              <a:gd name="connsiteY3" fmla="*/ 1657295 h 3365202"/>
              <a:gd name="connsiteX4" fmla="*/ 1682601 w 3365202"/>
              <a:gd name="connsiteY4" fmla="*/ 3365202 h 3365202"/>
              <a:gd name="connsiteX5" fmla="*/ 0 w 3365202"/>
              <a:gd name="connsiteY5" fmla="*/ 3365202 h 3365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5202" h="3365202">
                <a:moveTo>
                  <a:pt x="0" y="0"/>
                </a:moveTo>
                <a:lnTo>
                  <a:pt x="3365202" y="0"/>
                </a:lnTo>
                <a:lnTo>
                  <a:pt x="3365202" y="1657295"/>
                </a:lnTo>
                <a:lnTo>
                  <a:pt x="1682601" y="1657295"/>
                </a:lnTo>
                <a:lnTo>
                  <a:pt x="1682601" y="3365202"/>
                </a:lnTo>
                <a:lnTo>
                  <a:pt x="0" y="33652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969942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517934" y="1965353"/>
            <a:ext cx="4333240" cy="4333240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350708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4634149" y="2715905"/>
            <a:ext cx="5096705" cy="4142096"/>
          </a:xfrm>
          <a:prstGeom prst="parallelogram">
            <a:avLst>
              <a:gd name="adj" fmla="val 35544"/>
            </a:avLst>
          </a:pr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786323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6000" y="915537"/>
            <a:ext cx="5026925" cy="5026925"/>
          </a:xfrm>
          <a:custGeom>
            <a:avLst/>
            <a:gdLst>
              <a:gd name="connsiteX0" fmla="*/ 4409767 w 4409767"/>
              <a:gd name="connsiteY0" fmla="*/ 0 h 4409767"/>
              <a:gd name="connsiteX1" fmla="*/ 4409767 w 4409767"/>
              <a:gd name="connsiteY1" fmla="*/ 4409767 h 4409767"/>
              <a:gd name="connsiteX2" fmla="*/ 0 w 4409767"/>
              <a:gd name="connsiteY2" fmla="*/ 2204883 h 4409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09767" h="4409767">
                <a:moveTo>
                  <a:pt x="4409767" y="0"/>
                </a:moveTo>
                <a:lnTo>
                  <a:pt x="4409767" y="4409767"/>
                </a:lnTo>
                <a:lnTo>
                  <a:pt x="0" y="220488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765354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14503" y="532263"/>
            <a:ext cx="9021169" cy="9021169"/>
          </a:xfrm>
          <a:custGeom>
            <a:avLst/>
            <a:gdLst>
              <a:gd name="connsiteX0" fmla="*/ 0 w 9021169"/>
              <a:gd name="connsiteY0" fmla="*/ 0 h 9021169"/>
              <a:gd name="connsiteX1" fmla="*/ 9021169 w 9021169"/>
              <a:gd name="connsiteY1" fmla="*/ 4510584 h 9021169"/>
              <a:gd name="connsiteX2" fmla="*/ 0 w 9021169"/>
              <a:gd name="connsiteY2" fmla="*/ 9021169 h 902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21169" h="9021169">
                <a:moveTo>
                  <a:pt x="0" y="0"/>
                </a:moveTo>
                <a:lnTo>
                  <a:pt x="9021169" y="4510584"/>
                </a:lnTo>
                <a:lnTo>
                  <a:pt x="0" y="902116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865852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271757" y="604757"/>
            <a:ext cx="5648486" cy="5648486"/>
          </a:xfrm>
          <a:prstGeom prst="ellipse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8591288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-631504" y="-1769954"/>
            <a:ext cx="7359849" cy="7359849"/>
          </a:xfrm>
          <a:prstGeom prst="ellipse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613506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096000" y="604756"/>
            <a:ext cx="7359849" cy="7359849"/>
          </a:xfrm>
          <a:prstGeom prst="ellipse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-423079" y="-614149"/>
            <a:ext cx="3429000" cy="3429000"/>
          </a:xfrm>
          <a:prstGeom prst="ellipse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574228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420683" y="1382680"/>
            <a:ext cx="5475320" cy="5475320"/>
          </a:xfrm>
          <a:prstGeom prst="diamond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813632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656279" y="3492798"/>
            <a:ext cx="3365202" cy="3365202"/>
          </a:xfrm>
          <a:custGeom>
            <a:avLst/>
            <a:gdLst>
              <a:gd name="connsiteX0" fmla="*/ 0 w 3365202"/>
              <a:gd name="connsiteY0" fmla="*/ 0 h 3365202"/>
              <a:gd name="connsiteX1" fmla="*/ 3365202 w 3365202"/>
              <a:gd name="connsiteY1" fmla="*/ 0 h 3365202"/>
              <a:gd name="connsiteX2" fmla="*/ 3365202 w 3365202"/>
              <a:gd name="connsiteY2" fmla="*/ 1657295 h 3365202"/>
              <a:gd name="connsiteX3" fmla="*/ 1682601 w 3365202"/>
              <a:gd name="connsiteY3" fmla="*/ 1657295 h 3365202"/>
              <a:gd name="connsiteX4" fmla="*/ 1682601 w 3365202"/>
              <a:gd name="connsiteY4" fmla="*/ 3365202 h 3365202"/>
              <a:gd name="connsiteX5" fmla="*/ 0 w 3365202"/>
              <a:gd name="connsiteY5" fmla="*/ 3365202 h 3365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5202" h="3365202">
                <a:moveTo>
                  <a:pt x="0" y="0"/>
                </a:moveTo>
                <a:lnTo>
                  <a:pt x="3365202" y="0"/>
                </a:lnTo>
                <a:lnTo>
                  <a:pt x="3365202" y="1657295"/>
                </a:lnTo>
                <a:lnTo>
                  <a:pt x="1682601" y="1657295"/>
                </a:lnTo>
                <a:lnTo>
                  <a:pt x="1682601" y="3365202"/>
                </a:lnTo>
                <a:lnTo>
                  <a:pt x="0" y="33652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826797" y="1281212"/>
            <a:ext cx="3365202" cy="3365202"/>
          </a:xfrm>
          <a:custGeom>
            <a:avLst/>
            <a:gdLst>
              <a:gd name="connsiteX0" fmla="*/ 0 w 3365202"/>
              <a:gd name="connsiteY0" fmla="*/ 0 h 3365202"/>
              <a:gd name="connsiteX1" fmla="*/ 3365202 w 3365202"/>
              <a:gd name="connsiteY1" fmla="*/ 0 h 3365202"/>
              <a:gd name="connsiteX2" fmla="*/ 3365202 w 3365202"/>
              <a:gd name="connsiteY2" fmla="*/ 3365202 h 3365202"/>
              <a:gd name="connsiteX3" fmla="*/ 1707907 w 3365202"/>
              <a:gd name="connsiteY3" fmla="*/ 3365202 h 3365202"/>
              <a:gd name="connsiteX4" fmla="*/ 1707907 w 3365202"/>
              <a:gd name="connsiteY4" fmla="*/ 1682601 h 3365202"/>
              <a:gd name="connsiteX5" fmla="*/ 0 w 3365202"/>
              <a:gd name="connsiteY5" fmla="*/ 1682601 h 3365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5202" h="3365202">
                <a:moveTo>
                  <a:pt x="0" y="0"/>
                </a:moveTo>
                <a:lnTo>
                  <a:pt x="3365202" y="0"/>
                </a:lnTo>
                <a:lnTo>
                  <a:pt x="3365202" y="3365202"/>
                </a:lnTo>
                <a:lnTo>
                  <a:pt x="1707907" y="3365202"/>
                </a:lnTo>
                <a:lnTo>
                  <a:pt x="1707907" y="1682601"/>
                </a:lnTo>
                <a:lnTo>
                  <a:pt x="0" y="168260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286269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94731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050878" y="0"/>
            <a:ext cx="5045122" cy="5045122"/>
          </a:xfrm>
          <a:custGeom>
            <a:avLst/>
            <a:gdLst>
              <a:gd name="connsiteX0" fmla="*/ 0 w 3365202"/>
              <a:gd name="connsiteY0" fmla="*/ 0 h 3365202"/>
              <a:gd name="connsiteX1" fmla="*/ 3365202 w 3365202"/>
              <a:gd name="connsiteY1" fmla="*/ 0 h 3365202"/>
              <a:gd name="connsiteX2" fmla="*/ 3365202 w 3365202"/>
              <a:gd name="connsiteY2" fmla="*/ 1657295 h 3365202"/>
              <a:gd name="connsiteX3" fmla="*/ 1682601 w 3365202"/>
              <a:gd name="connsiteY3" fmla="*/ 1657295 h 3365202"/>
              <a:gd name="connsiteX4" fmla="*/ 1682601 w 3365202"/>
              <a:gd name="connsiteY4" fmla="*/ 3365202 h 3365202"/>
              <a:gd name="connsiteX5" fmla="*/ 0 w 3365202"/>
              <a:gd name="connsiteY5" fmla="*/ 3365202 h 3365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5202" h="3365202">
                <a:moveTo>
                  <a:pt x="0" y="0"/>
                </a:moveTo>
                <a:lnTo>
                  <a:pt x="3365202" y="0"/>
                </a:lnTo>
                <a:lnTo>
                  <a:pt x="3365202" y="1657295"/>
                </a:lnTo>
                <a:lnTo>
                  <a:pt x="1682601" y="1657295"/>
                </a:lnTo>
                <a:lnTo>
                  <a:pt x="1682601" y="3365202"/>
                </a:lnTo>
                <a:lnTo>
                  <a:pt x="0" y="336520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3831717" y="2727875"/>
            <a:ext cx="3365202" cy="3365202"/>
          </a:xfrm>
          <a:custGeom>
            <a:avLst/>
            <a:gdLst>
              <a:gd name="connsiteX0" fmla="*/ 1682601 w 3365202"/>
              <a:gd name="connsiteY0" fmla="*/ 0 h 3365202"/>
              <a:gd name="connsiteX1" fmla="*/ 3365202 w 3365202"/>
              <a:gd name="connsiteY1" fmla="*/ 0 h 3365202"/>
              <a:gd name="connsiteX2" fmla="*/ 3365202 w 3365202"/>
              <a:gd name="connsiteY2" fmla="*/ 3365202 h 3365202"/>
              <a:gd name="connsiteX3" fmla="*/ 0 w 3365202"/>
              <a:gd name="connsiteY3" fmla="*/ 3365202 h 3365202"/>
              <a:gd name="connsiteX4" fmla="*/ 0 w 3365202"/>
              <a:gd name="connsiteY4" fmla="*/ 1707907 h 3365202"/>
              <a:gd name="connsiteX5" fmla="*/ 1682601 w 3365202"/>
              <a:gd name="connsiteY5" fmla="*/ 1707907 h 3365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5202" h="3365202">
                <a:moveTo>
                  <a:pt x="1682601" y="0"/>
                </a:moveTo>
                <a:lnTo>
                  <a:pt x="3365202" y="0"/>
                </a:lnTo>
                <a:lnTo>
                  <a:pt x="3365202" y="3365202"/>
                </a:lnTo>
                <a:lnTo>
                  <a:pt x="0" y="3365202"/>
                </a:lnTo>
                <a:lnTo>
                  <a:pt x="0" y="1707907"/>
                </a:lnTo>
                <a:lnTo>
                  <a:pt x="1682601" y="170790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532518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064525" y="614150"/>
            <a:ext cx="5629701" cy="5629701"/>
          </a:xfrm>
          <a:prstGeom prst="rtTriangle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007125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271757" y="604757"/>
            <a:ext cx="5648486" cy="5648486"/>
          </a:xfrm>
          <a:prstGeom prst="diamond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8773101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790020" y="495653"/>
            <a:ext cx="6348688" cy="5866697"/>
          </a:xfrm>
          <a:custGeom>
            <a:avLst/>
            <a:gdLst>
              <a:gd name="connsiteX0" fmla="*/ 5318849 w 6348688"/>
              <a:gd name="connsiteY0" fmla="*/ 838490 h 5866697"/>
              <a:gd name="connsiteX1" fmla="*/ 6344749 w 6348688"/>
              <a:gd name="connsiteY1" fmla="*/ 1875940 h 5866697"/>
              <a:gd name="connsiteX2" fmla="*/ 5291457 w 6348688"/>
              <a:gd name="connsiteY2" fmla="*/ 2917506 h 5866697"/>
              <a:gd name="connsiteX3" fmla="*/ 6348688 w 6348688"/>
              <a:gd name="connsiteY3" fmla="*/ 3986639 h 5866697"/>
              <a:gd name="connsiteX4" fmla="*/ 5295396 w 6348688"/>
              <a:gd name="connsiteY4" fmla="*/ 5028205 h 5866697"/>
              <a:gd name="connsiteX5" fmla="*/ 3212265 w 6348688"/>
              <a:gd name="connsiteY5" fmla="*/ 2921621 h 5866697"/>
              <a:gd name="connsiteX6" fmla="*/ 2943303 w 6348688"/>
              <a:gd name="connsiteY6" fmla="*/ 0 h 5866697"/>
              <a:gd name="connsiteX7" fmla="*/ 4383016 w 6348688"/>
              <a:gd name="connsiteY7" fmla="*/ 1449518 h 5866697"/>
              <a:gd name="connsiteX8" fmla="*/ 2911365 w 6348688"/>
              <a:gd name="connsiteY8" fmla="*/ 2911215 h 5866697"/>
              <a:gd name="connsiteX9" fmla="*/ 4395047 w 6348688"/>
              <a:gd name="connsiteY9" fmla="*/ 4405000 h 5866697"/>
              <a:gd name="connsiteX10" fmla="*/ 2923394 w 6348688"/>
              <a:gd name="connsiteY10" fmla="*/ 5866697 h 5866697"/>
              <a:gd name="connsiteX11" fmla="*/ 0 w 6348688"/>
              <a:gd name="connsiteY11" fmla="*/ 2923394 h 5866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348688" h="5866697">
                <a:moveTo>
                  <a:pt x="5318849" y="838490"/>
                </a:moveTo>
                <a:lnTo>
                  <a:pt x="6344749" y="1875940"/>
                </a:lnTo>
                <a:lnTo>
                  <a:pt x="5291457" y="2917506"/>
                </a:lnTo>
                <a:lnTo>
                  <a:pt x="6348688" y="3986639"/>
                </a:lnTo>
                <a:lnTo>
                  <a:pt x="5295396" y="5028205"/>
                </a:lnTo>
                <a:lnTo>
                  <a:pt x="3212265" y="2921621"/>
                </a:lnTo>
                <a:close/>
                <a:moveTo>
                  <a:pt x="2943303" y="0"/>
                </a:moveTo>
                <a:lnTo>
                  <a:pt x="4383016" y="1449518"/>
                </a:lnTo>
                <a:lnTo>
                  <a:pt x="2911365" y="2911215"/>
                </a:lnTo>
                <a:lnTo>
                  <a:pt x="4395047" y="4405000"/>
                </a:lnTo>
                <a:lnTo>
                  <a:pt x="2923394" y="5866697"/>
                </a:lnTo>
                <a:lnTo>
                  <a:pt x="0" y="292339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80728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5998" cy="6858000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324077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980226" y="0"/>
            <a:ext cx="3211771" cy="6858000"/>
          </a:xfrm>
        </p:spPr>
        <p:txBody>
          <a:bodyPr/>
          <a:lstStyle/>
          <a:p>
            <a:endParaRPr lang="id-ID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5502321" y="0"/>
            <a:ext cx="3211771" cy="6858000"/>
          </a:xfrm>
        </p:spPr>
        <p:txBody>
          <a:bodyPr/>
          <a:lstStyle/>
          <a:p>
            <a:endParaRPr lang="id-ID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2024416" y="0"/>
            <a:ext cx="3211771" cy="6858000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0452018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1065007" y="1692324"/>
            <a:ext cx="3206742" cy="2449772"/>
          </a:xfrm>
        </p:spPr>
        <p:txBody>
          <a:bodyPr/>
          <a:lstStyle/>
          <a:p>
            <a:endParaRPr lang="id-ID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4492629" y="1692324"/>
            <a:ext cx="3206742" cy="2449772"/>
          </a:xfrm>
        </p:spPr>
        <p:txBody>
          <a:bodyPr/>
          <a:lstStyle/>
          <a:p>
            <a:endParaRPr lang="id-ID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7920251" y="1692324"/>
            <a:ext cx="3206742" cy="2449772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0418425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1064519" y="532264"/>
            <a:ext cx="2783179" cy="2883088"/>
          </a:xfrm>
        </p:spPr>
        <p:txBody>
          <a:bodyPr/>
          <a:lstStyle/>
          <a:p>
            <a:endParaRPr lang="id-ID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4080193" y="3620067"/>
            <a:ext cx="3206742" cy="1975514"/>
          </a:xfrm>
        </p:spPr>
        <p:txBody>
          <a:bodyPr/>
          <a:lstStyle/>
          <a:p>
            <a:endParaRPr lang="id-ID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692317" y="3620067"/>
            <a:ext cx="2154416" cy="2726141"/>
          </a:xfrm>
        </p:spPr>
        <p:txBody>
          <a:bodyPr/>
          <a:lstStyle/>
          <a:p>
            <a:endParaRPr lang="id-ID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4080193" y="1351128"/>
            <a:ext cx="2457079" cy="2060809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304760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769767" y="1699997"/>
            <a:ext cx="5422233" cy="3458005"/>
          </a:xfrm>
        </p:spPr>
        <p:txBody>
          <a:bodyPr/>
          <a:lstStyle/>
          <a:p>
            <a:endParaRPr lang="id-ID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2497540" cy="3429000"/>
          </a:xfrm>
        </p:spPr>
        <p:txBody>
          <a:bodyPr/>
          <a:lstStyle/>
          <a:p>
            <a:endParaRPr lang="id-ID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694597" y="3443502"/>
            <a:ext cx="2497540" cy="3429000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6716903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096000" y="1249621"/>
            <a:ext cx="5054221" cy="3458005"/>
          </a:xfrm>
        </p:spPr>
        <p:txBody>
          <a:bodyPr/>
          <a:lstStyle/>
          <a:p>
            <a:endParaRPr lang="id-ID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801505" y="0"/>
            <a:ext cx="4294496" cy="2688609"/>
          </a:xfrm>
        </p:spPr>
        <p:txBody>
          <a:bodyPr/>
          <a:lstStyle/>
          <a:p>
            <a:endParaRPr lang="id-ID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3220872" y="2688609"/>
            <a:ext cx="2875128" cy="2019017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443943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096000" cy="4867835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46236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774208" y="0"/>
            <a:ext cx="5773003" cy="6858000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424901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2722731" y="573208"/>
            <a:ext cx="3248168" cy="4435522"/>
          </a:xfrm>
        </p:spPr>
        <p:txBody>
          <a:bodyPr/>
          <a:lstStyle/>
          <a:p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232480" y="1858373"/>
            <a:ext cx="3248168" cy="4435522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767009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9703558" y="-1"/>
            <a:ext cx="2488442" cy="4162567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482698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4851779" y="900752"/>
            <a:ext cx="2488442" cy="4694830"/>
          </a:xfrm>
        </p:spPr>
        <p:txBody>
          <a:bodyPr/>
          <a:lstStyle/>
          <a:p>
            <a:endParaRPr lang="id-ID"/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7340220" y="900752"/>
            <a:ext cx="4219433" cy="4694830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226978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32346" y="900752"/>
            <a:ext cx="4219433" cy="4694830"/>
          </a:xfrm>
        </p:spPr>
        <p:txBody>
          <a:bodyPr/>
          <a:lstStyle/>
          <a:p>
            <a:endParaRPr lang="id-ID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851779" y="900752"/>
            <a:ext cx="4219433" cy="1965278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904258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32347" y="0"/>
            <a:ext cx="1865194" cy="6858000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168615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782475" y="1992572"/>
            <a:ext cx="1865194" cy="4865427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2968392" y="0"/>
            <a:ext cx="1865194" cy="4865427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5154309" y="573207"/>
            <a:ext cx="1865194" cy="4865427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7340226" y="1146414"/>
            <a:ext cx="1865194" cy="4865427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9526143" y="-1"/>
            <a:ext cx="1865194" cy="4865427"/>
          </a:xfrm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8246052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1069079" y="-1"/>
            <a:ext cx="2880000" cy="2275925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2035630" y="2575854"/>
            <a:ext cx="2880000" cy="2880000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0" y="5755783"/>
            <a:ext cx="2880000" cy="1102217"/>
          </a:xfrm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7751732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1069079" y="-1"/>
            <a:ext cx="2880000" cy="2275925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7533564" y="2575854"/>
            <a:ext cx="4656342" cy="2880000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0" y="5755783"/>
            <a:ext cx="2880000" cy="1102217"/>
          </a:xfrm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6079471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1069078" y="-1"/>
            <a:ext cx="8648128" cy="4872252"/>
          </a:xfrm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0797059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4325471" cy="4867835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73868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473592" y="549000"/>
            <a:ext cx="2880000" cy="2880000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4656000" y="2434666"/>
            <a:ext cx="2880000" cy="2880000"/>
          </a:xfrm>
          <a:prstGeom prst="corner">
            <a:avLst>
              <a:gd name="adj1" fmla="val 59004"/>
              <a:gd name="adj2" fmla="val 57108"/>
            </a:avLst>
          </a:prstGeom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2478272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12192000" cy="2715905"/>
          </a:xfrm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5422687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2396115" y="1757165"/>
            <a:ext cx="1963642" cy="3425840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7779109" y="1757165"/>
            <a:ext cx="1963642" cy="3425840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5088002" y="1757165"/>
            <a:ext cx="1963642" cy="3425840"/>
          </a:xfrm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0712143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1031339" y="-399181"/>
            <a:ext cx="1963642" cy="3425840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3671133" y="1938210"/>
            <a:ext cx="1963642" cy="3425840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232915" y="-1962775"/>
            <a:ext cx="1963642" cy="3425840"/>
          </a:xfrm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8759281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4856100" y="1320419"/>
            <a:ext cx="2479799" cy="4326346"/>
          </a:xfrm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344472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1301914" y="2071047"/>
            <a:ext cx="2726205" cy="3768876"/>
          </a:xfrm>
        </p:spPr>
        <p:txBody>
          <a:bodyPr/>
          <a:lstStyle/>
          <a:p>
            <a:endParaRPr lang="id-ID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6927266" y="1026658"/>
            <a:ext cx="2726205" cy="3768876"/>
          </a:xfrm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8828089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7274694" y="-328115"/>
            <a:ext cx="3536571" cy="4889177"/>
          </a:xfrm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4303870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3909060" y="1725930"/>
            <a:ext cx="4419600" cy="2792730"/>
          </a:xfrm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3748632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6509329" y="-362176"/>
            <a:ext cx="5909233" cy="3734024"/>
          </a:xfrm>
        </p:spPr>
        <p:txBody>
          <a:bodyPr/>
          <a:lstStyle/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3643842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009664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:blinds/>
      </p:transition>
    </mc:Choice>
    <mc:Fallback xmlns="">
      <p:transition spd="slow">
        <p:blinds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822142" y="1990166"/>
            <a:ext cx="3276599" cy="4316506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8253962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mk-M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mk-M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466C-2EED-4535-9519-4D1FC49A2088}" type="datetimeFigureOut">
              <a:rPr lang="mk-MK" smtClean="0"/>
              <a:pPr/>
              <a:t>17.01.2020</a:t>
            </a:fld>
            <a:endParaRPr lang="mk-M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mk-M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54F329-27E4-479E-BF41-BA183BA1C81B}" type="slidenum">
              <a:rPr lang="mk-MK" smtClean="0"/>
              <a:pPr/>
              <a:t>‹#›</a:t>
            </a:fld>
            <a:endParaRPr lang="mk-MK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10800"/>
            <a:ext cx="11184000" cy="453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smtClean="0"/>
              <a:t>Member Firms and DTTL: Insert appropriate copyright (Go Header &amp; Footer to edit this text)</a:t>
            </a:r>
            <a:endParaRPr lang="en-GB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0347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accent1"/>
          </a:solidFill>
          <a:ln w="127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9980" y="882376"/>
            <a:ext cx="9966960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7200" b="1" cap="all" baseline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09530" y="3869634"/>
            <a:ext cx="8767860" cy="1388165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rgbClr val="FFFFFF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6F259C98-3054-4FD7-908D-50E2169C9157}" type="datetimeFigureOut">
              <a:rPr lang="id-ID" smtClean="0"/>
              <a:pPr/>
              <a:t>17/01/2020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D8117F3-EA42-4A68-894E-634144934CAE}" type="slidenum">
              <a:rPr lang="id-ID" smtClean="0"/>
              <a:pPr/>
              <a:t>‹#›</a:t>
            </a:fld>
            <a:endParaRPr lang="id-ID"/>
          </a:p>
        </p:txBody>
      </p:sp>
      <p:cxnSp>
        <p:nvCxnSpPr>
          <p:cNvPr id="8" name="Straight Connector 7"/>
          <p:cNvCxnSpPr/>
          <p:nvPr/>
        </p:nvCxnSpPr>
        <p:spPr>
          <a:xfrm>
            <a:off x="1978660" y="3733800"/>
            <a:ext cx="822960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72442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59C98-3054-4FD7-908D-50E2169C9157}" type="datetimeFigureOut">
              <a:rPr lang="id-ID" smtClean="0"/>
              <a:pPr/>
              <a:t>17/01/2020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8117F3-EA42-4A68-894E-634144934CAE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7866116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6424" y="1173575"/>
            <a:ext cx="9966960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7200" b="0" cap="all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09928" y="4154520"/>
            <a:ext cx="8769096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22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59C98-3054-4FD7-908D-50E2169C9157}" type="datetimeFigureOut">
              <a:rPr lang="id-ID" smtClean="0"/>
              <a:pPr/>
              <a:t>17/01/2020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8117F3-EA42-4A68-894E-634144934CAE}" type="slidenum">
              <a:rPr lang="id-ID" smtClean="0"/>
              <a:pPr/>
              <a:t>‹#›</a:t>
            </a:fld>
            <a:endParaRPr lang="id-ID"/>
          </a:p>
        </p:txBody>
      </p:sp>
      <p:cxnSp>
        <p:nvCxnSpPr>
          <p:cNvPr id="7" name="Straight Connector 6"/>
          <p:cNvCxnSpPr/>
          <p:nvPr/>
        </p:nvCxnSpPr>
        <p:spPr>
          <a:xfrm>
            <a:off x="1981200" y="4020408"/>
            <a:ext cx="822960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32319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3000" y="2057399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7612" y="2057400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59C98-3054-4FD7-908D-50E2169C9157}" type="datetimeFigureOut">
              <a:rPr lang="id-ID" smtClean="0"/>
              <a:pPr/>
              <a:t>17/01/2020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8117F3-EA42-4A68-894E-634144934CAE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001836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01511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3000" y="2721483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9173" y="1999032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9173" y="2719322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59C98-3054-4FD7-908D-50E2169C9157}" type="datetimeFigureOut">
              <a:rPr lang="id-ID" smtClean="0"/>
              <a:pPr/>
              <a:t>17/01/2020</a:t>
            </a:fld>
            <a:endParaRPr lang="id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8117F3-EA42-4A68-894E-634144934CAE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909588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59C98-3054-4FD7-908D-50E2169C9157}" type="datetimeFigureOut">
              <a:rPr lang="id-ID" smtClean="0"/>
              <a:pPr/>
              <a:t>17/01/2020</a:t>
            </a:fld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8117F3-EA42-4A68-894E-634144934CAE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572229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59C98-3054-4FD7-908D-50E2169C9157}" type="datetimeFigureOut">
              <a:rPr lang="id-ID" smtClean="0"/>
              <a:pPr/>
              <a:t>17/01/2020</a:t>
            </a:fld>
            <a:endParaRPr lang="id-ID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8117F3-EA42-4A68-894E-634144934CAE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288053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2159" y="1097280"/>
            <a:ext cx="5212080" cy="46634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301752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59C98-3054-4FD7-908D-50E2169C9157}" type="datetimeFigureOut">
              <a:rPr lang="id-ID" smtClean="0"/>
              <a:pPr/>
              <a:t>17/01/2020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8117F3-EA42-4A68-894E-634144934CAE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0937392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6096000" y="564683"/>
            <a:ext cx="4168681" cy="4168683"/>
          </a:xfrm>
          <a:custGeom>
            <a:avLst/>
            <a:gdLst>
              <a:gd name="connsiteX0" fmla="*/ 0 w 4168681"/>
              <a:gd name="connsiteY0" fmla="*/ 0 h 4168683"/>
              <a:gd name="connsiteX1" fmla="*/ 4168681 w 4168681"/>
              <a:gd name="connsiteY1" fmla="*/ 0 h 4168683"/>
              <a:gd name="connsiteX2" fmla="*/ 0 w 4168681"/>
              <a:gd name="connsiteY2" fmla="*/ 4168683 h 41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68681" h="4168683">
                <a:moveTo>
                  <a:pt x="0" y="0"/>
                </a:moveTo>
                <a:lnTo>
                  <a:pt x="4168681" y="0"/>
                </a:lnTo>
                <a:lnTo>
                  <a:pt x="0" y="416868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9354578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13248" y="1069847"/>
            <a:ext cx="6099048" cy="4800600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59C98-3054-4FD7-908D-50E2169C9157}" type="datetimeFigureOut">
              <a:rPr lang="id-ID" smtClean="0"/>
              <a:pPr/>
              <a:t>17/01/2020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8117F3-EA42-4A68-894E-634144934CAE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885699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59C98-3054-4FD7-908D-50E2169C9157}" type="datetimeFigureOut">
              <a:rPr lang="id-ID" smtClean="0"/>
              <a:pPr/>
              <a:t>17/01/2020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8117F3-EA42-4A68-894E-634144934CAE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3449647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762000"/>
            <a:ext cx="2324100" cy="54102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3000" y="762000"/>
            <a:ext cx="7429500" cy="54102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59C98-3054-4FD7-908D-50E2169C9157}" type="datetimeFigureOut">
              <a:rPr lang="id-ID" smtClean="0"/>
              <a:pPr/>
              <a:t>17/01/2020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8117F3-EA42-4A68-894E-634144934CAE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315402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50879" y="564683"/>
            <a:ext cx="10099342" cy="358423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346401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351124" y="2213274"/>
            <a:ext cx="4294495" cy="3343481"/>
          </a:xfrm>
          <a:prstGeom prst="corner">
            <a:avLst>
              <a:gd name="adj1" fmla="val 50000"/>
              <a:gd name="adj2" fmla="val 75272"/>
            </a:avLst>
          </a:prstGeom>
        </p:spPr>
        <p:txBody>
          <a:bodyPr wrap="square">
            <a:noAutofit/>
          </a:bodyPr>
          <a:lstStyle/>
          <a:p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053477" y="725762"/>
            <a:ext cx="2975023" cy="2975023"/>
          </a:xfr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865492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058435" y="1611756"/>
            <a:ext cx="3634487" cy="3634487"/>
          </a:xfrm>
          <a:custGeom>
            <a:avLst/>
            <a:gdLst>
              <a:gd name="connsiteX0" fmla="*/ 4409767 w 4409767"/>
              <a:gd name="connsiteY0" fmla="*/ 0 h 4409767"/>
              <a:gd name="connsiteX1" fmla="*/ 4409767 w 4409767"/>
              <a:gd name="connsiteY1" fmla="*/ 4409767 h 4409767"/>
              <a:gd name="connsiteX2" fmla="*/ 0 w 4409767"/>
              <a:gd name="connsiteY2" fmla="*/ 2204883 h 4409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409767" h="4409767">
                <a:moveTo>
                  <a:pt x="4409767" y="0"/>
                </a:moveTo>
                <a:lnTo>
                  <a:pt x="4409767" y="4409767"/>
                </a:lnTo>
                <a:lnTo>
                  <a:pt x="0" y="220488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458696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59C98-3054-4FD7-908D-50E2169C9157}" type="datetimeFigureOut">
              <a:rPr lang="id-ID" smtClean="0"/>
              <a:pPr/>
              <a:t>17/01/2020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8117F3-EA42-4A68-894E-634144934CAE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1840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6" r:id="rId11"/>
    <p:sldLayoutId id="2147483665" r:id="rId12"/>
    <p:sldLayoutId id="2147483667" r:id="rId13"/>
    <p:sldLayoutId id="2147483683" r:id="rId14"/>
    <p:sldLayoutId id="2147483668" r:id="rId15"/>
    <p:sldLayoutId id="2147483682" r:id="rId16"/>
    <p:sldLayoutId id="2147483684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  <p:sldLayoutId id="2147483679" r:id="rId28"/>
    <p:sldLayoutId id="2147483681" r:id="rId29"/>
    <p:sldLayoutId id="2147483680" r:id="rId30"/>
    <p:sldLayoutId id="2147483685" r:id="rId31"/>
    <p:sldLayoutId id="2147483686" r:id="rId32"/>
    <p:sldLayoutId id="2147483687" r:id="rId33"/>
    <p:sldLayoutId id="2147483688" r:id="rId34"/>
    <p:sldLayoutId id="2147483689" r:id="rId35"/>
    <p:sldLayoutId id="2147483690" r:id="rId36"/>
    <p:sldLayoutId id="2147483691" r:id="rId37"/>
    <p:sldLayoutId id="2147483692" r:id="rId38"/>
    <p:sldLayoutId id="2147483701" r:id="rId39"/>
    <p:sldLayoutId id="2147483702" r:id="rId40"/>
    <p:sldLayoutId id="2147483693" r:id="rId41"/>
    <p:sldLayoutId id="2147483694" r:id="rId42"/>
    <p:sldLayoutId id="2147483699" r:id="rId43"/>
    <p:sldLayoutId id="2147483700" r:id="rId44"/>
    <p:sldLayoutId id="2147483697" r:id="rId45"/>
    <p:sldLayoutId id="2147483698" r:id="rId46"/>
    <p:sldLayoutId id="2147483695" r:id="rId47"/>
    <p:sldLayoutId id="2147483696" r:id="rId48"/>
    <p:sldLayoutId id="2147483703" r:id="rId49"/>
    <p:sldLayoutId id="2147483704" r:id="rId50"/>
    <p:sldLayoutId id="2147483706" r:id="rId5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57400"/>
            <a:ext cx="9872871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42996" y="6223828"/>
            <a:ext cx="23290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fld id="{6F259C98-3054-4FD7-908D-50E2169C9157}" type="datetimeFigureOut">
              <a:rPr lang="id-ID" smtClean="0"/>
              <a:pPr/>
              <a:t>17/01/2020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49148" y="6223828"/>
            <a:ext cx="47177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9530" y="6223828"/>
            <a:ext cx="17062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2D8117F3-EA42-4A68-894E-634144934CAE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62365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182880" algn="l" defTabSz="914400" rtl="0" eaLnBrk="1" latinLnBrk="0" hangingPunct="1">
        <a:lnSpc>
          <a:spcPct val="90000"/>
        </a:lnSpc>
        <a:spcBef>
          <a:spcPts val="1400"/>
        </a:spcBef>
        <a:buClr>
          <a:schemeClr val="accent1"/>
        </a:buClr>
        <a:buSzPct val="80000"/>
        <a:buFont typeface="Corbe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hyperlink" Target="https://www.economist.com/leaders/2018/08/25/how-to-make-air-conditioning-more-sustainable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.png"/><Relationship Id="rId4" Type="http://schemas.openxmlformats.org/officeDocument/2006/relationships/hyperlink" Target="https://www.nytimes.com/2018/05/15/climate/air-conditioning.html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-3631" y="-7257"/>
            <a:ext cx="12192000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</a:t>
            </a:r>
            <a:endParaRPr lang="id-ID" dirty="0"/>
          </a:p>
        </p:txBody>
      </p:sp>
      <p:pic>
        <p:nvPicPr>
          <p:cNvPr id="3075" name="Picture 3" descr="C:\Users\NK\Desktop\electricity-plugged-to-the-globe_shutterstock_89738425-color-print_1200x60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-14690"/>
            <a:ext cx="12188369" cy="6094185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6365968" y="495522"/>
            <a:ext cx="6961586" cy="50783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800" b="1" dirty="0" err="1" smtClean="0">
                <a:solidFill>
                  <a:schemeClr val="accent6">
                    <a:lumMod val="50000"/>
                  </a:schemeClr>
                </a:solidFill>
              </a:rPr>
              <a:t>Энерго</a:t>
            </a:r>
            <a:r>
              <a:rPr lang="ru-RU" sz="4800" b="1" dirty="0" smtClean="0">
                <a:solidFill>
                  <a:schemeClr val="accent6">
                    <a:lumMod val="50000"/>
                  </a:schemeClr>
                </a:solidFill>
              </a:rPr>
              <a:t>-</a:t>
            </a:r>
          </a:p>
          <a:p>
            <a:r>
              <a:rPr lang="ru-RU" sz="4800" b="1" dirty="0" smtClean="0">
                <a:solidFill>
                  <a:schemeClr val="accent6">
                    <a:lumMod val="50000"/>
                  </a:schemeClr>
                </a:solidFill>
              </a:rPr>
              <a:t>эффективность</a:t>
            </a:r>
            <a:endParaRPr lang="en-US" sz="48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ru-RU" sz="2400" b="1" dirty="0" smtClean="0">
                <a:solidFill>
                  <a:schemeClr val="accent6">
                    <a:lumMod val="75000"/>
                  </a:schemeClr>
                </a:solidFill>
              </a:rPr>
              <a:t>Максимальные климатические выгоды</a:t>
            </a:r>
            <a:endParaRPr lang="en-US" sz="24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ru-RU" sz="2400" b="1" dirty="0" smtClean="0">
                <a:solidFill>
                  <a:schemeClr val="accent6">
                    <a:lumMod val="75000"/>
                  </a:schemeClr>
                </a:solidFill>
              </a:rPr>
              <a:t>В контексте Кигалийской поправки</a:t>
            </a:r>
            <a:r>
              <a:rPr lang="en-US" sz="24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endParaRPr lang="mk-MK" sz="24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sz="54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5400" b="1" dirty="0" smtClean="0">
                <a:solidFill>
                  <a:schemeClr val="accent6">
                    <a:lumMod val="75000"/>
                  </a:schemeClr>
                </a:solidFill>
              </a:rPr>
              <a:t>   </a:t>
            </a:r>
            <a:r>
              <a:rPr lang="ru-RU" sz="3600" b="1" dirty="0" smtClean="0">
                <a:solidFill>
                  <a:schemeClr val="accent6">
                    <a:lumMod val="75000"/>
                  </a:schemeClr>
                </a:solidFill>
              </a:rPr>
              <a:t>Координационный Центр </a:t>
            </a:r>
          </a:p>
          <a:p>
            <a:r>
              <a:rPr lang="ru-RU" sz="3600" b="1" dirty="0" smtClean="0">
                <a:solidFill>
                  <a:schemeClr val="accent6">
                    <a:lumMod val="75000"/>
                  </a:schemeClr>
                </a:solidFill>
              </a:rPr>
              <a:t>по климату и озону</a:t>
            </a:r>
          </a:p>
          <a:p>
            <a:r>
              <a:rPr lang="ru-RU" sz="3600" b="1" dirty="0" smtClean="0">
                <a:solidFill>
                  <a:schemeClr val="accent6">
                    <a:lumMod val="75000"/>
                  </a:schemeClr>
                </a:solidFill>
              </a:rPr>
              <a:t> Кыргызской Республики</a:t>
            </a:r>
            <a:r>
              <a:rPr lang="en-US" sz="3600" b="1" dirty="0" smtClean="0">
                <a:solidFill>
                  <a:schemeClr val="accent6">
                    <a:lumMod val="75000"/>
                  </a:schemeClr>
                </a:solidFill>
              </a:rPr>
              <a:t>                 </a:t>
            </a:r>
            <a:endParaRPr lang="mk-MK" sz="36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58022" y="5140190"/>
            <a:ext cx="1847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mk-MK" sz="5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rot="16200000">
            <a:off x="5772339" y="1212481"/>
            <a:ext cx="1090612" cy="9842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11" name="Rectangle 10"/>
          <p:cNvSpPr/>
          <p:nvPr/>
        </p:nvSpPr>
        <p:spPr>
          <a:xfrm>
            <a:off x="-3633" y="6027846"/>
            <a:ext cx="12192001" cy="79465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79485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 rot="16200000">
            <a:off x="2666999" y="-2667004"/>
            <a:ext cx="6858001" cy="121920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6082748" cy="6858000"/>
          </a:xfrm>
          <a:prstGeom prst="rect">
            <a:avLst/>
          </a:prstGeom>
          <a:solidFill>
            <a:srgbClr val="B6D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d-ID" dirty="0"/>
          </a:p>
        </p:txBody>
      </p:sp>
      <p:pic>
        <p:nvPicPr>
          <p:cNvPr id="96258" name="Picture 2" descr="C:\Users\NK\Desktop\gAS+leak+mgn+imag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20873" y="3451912"/>
            <a:ext cx="5754241" cy="3804194"/>
          </a:xfrm>
          <a:prstGeom prst="rect">
            <a:avLst/>
          </a:prstGeom>
          <a:noFill/>
        </p:spPr>
      </p:pic>
      <p:sp>
        <p:nvSpPr>
          <p:cNvPr id="7" name="Oval Callout 6"/>
          <p:cNvSpPr/>
          <p:nvPr/>
        </p:nvSpPr>
        <p:spPr>
          <a:xfrm rot="20870407">
            <a:off x="415139" y="1034213"/>
            <a:ext cx="4772373" cy="1898456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Прямые выбросы</a:t>
            </a:r>
            <a:endParaRPr lang="en-US" b="1" dirty="0" smtClean="0">
              <a:solidFill>
                <a:schemeClr val="tx1"/>
              </a:solidFill>
            </a:endParaRPr>
          </a:p>
          <a:p>
            <a:pPr algn="ctr"/>
            <a:r>
              <a:rPr lang="ru-RU" dirty="0" smtClean="0"/>
              <a:t>При эксплуатации</a:t>
            </a:r>
            <a:r>
              <a:rPr lang="en-US" dirty="0" smtClean="0"/>
              <a:t>: </a:t>
            </a:r>
            <a:r>
              <a:rPr lang="ru-RU" dirty="0" smtClean="0"/>
              <a:t>обслуживание</a:t>
            </a:r>
            <a:r>
              <a:rPr lang="en-US" dirty="0" smtClean="0"/>
              <a:t>,</a:t>
            </a:r>
            <a:r>
              <a:rPr lang="ru-RU" dirty="0" smtClean="0"/>
              <a:t> ремонт, окончание срока службы</a:t>
            </a:r>
            <a:r>
              <a:rPr lang="en-US" dirty="0" smtClean="0"/>
              <a:t> (</a:t>
            </a:r>
            <a:r>
              <a:rPr lang="ru-RU" dirty="0" smtClean="0"/>
              <a:t>утечки и выбросы при извлечении </a:t>
            </a:r>
            <a:r>
              <a:rPr lang="en-US" dirty="0" smtClean="0"/>
              <a:t>(~20-30% of TEWI)</a:t>
            </a:r>
            <a:endParaRPr lang="mk-MK" dirty="0"/>
          </a:p>
        </p:txBody>
      </p:sp>
      <p:sp>
        <p:nvSpPr>
          <p:cNvPr id="8" name="Oval Callout 7"/>
          <p:cNvSpPr/>
          <p:nvPr/>
        </p:nvSpPr>
        <p:spPr>
          <a:xfrm rot="348772">
            <a:off x="6492635" y="1103677"/>
            <a:ext cx="5607957" cy="2123395"/>
          </a:xfrm>
          <a:prstGeom prst="wedgeEllipseCallou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Косвенные выбросы</a:t>
            </a:r>
            <a:endParaRPr lang="en-US" b="1" dirty="0" smtClean="0">
              <a:solidFill>
                <a:schemeClr val="bg1"/>
              </a:solidFill>
            </a:endParaRP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Выбросы </a:t>
            </a:r>
            <a:r>
              <a:rPr lang="en-US" dirty="0" smtClean="0">
                <a:solidFill>
                  <a:schemeClr val="tx1"/>
                </a:solidFill>
              </a:rPr>
              <a:t>CO</a:t>
            </a:r>
            <a:r>
              <a:rPr lang="en-US" baseline="-25000" dirty="0" smtClean="0">
                <a:solidFill>
                  <a:schemeClr val="tx1"/>
                </a:solidFill>
              </a:rPr>
              <a:t>2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от электроэнергии, полученной от ископаемого топлива</a:t>
            </a:r>
            <a:endParaRPr lang="en-US" dirty="0" smtClean="0">
              <a:solidFill>
                <a:schemeClr val="tx1"/>
              </a:solidFill>
            </a:endParaRP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Потребление электроэнергии системами охлаждения </a:t>
            </a:r>
            <a:r>
              <a:rPr lang="en-US" dirty="0" smtClean="0">
                <a:solidFill>
                  <a:schemeClr val="tx1"/>
                </a:solidFill>
              </a:rPr>
              <a:t>(~70-80% of TEWI)</a:t>
            </a:r>
            <a:endParaRPr lang="en-US" baseline="-25000" dirty="0" smtClean="0">
              <a:solidFill>
                <a:schemeClr val="tx1"/>
              </a:solidFill>
            </a:endParaRPr>
          </a:p>
        </p:txBody>
      </p:sp>
      <p:pic>
        <p:nvPicPr>
          <p:cNvPr id="96259" name="Picture 3" descr="C:\Users\NK\Desktop\2221636_orig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51092" y="3507207"/>
            <a:ext cx="4659254" cy="3059657"/>
          </a:xfrm>
          <a:prstGeom prst="rect">
            <a:avLst/>
          </a:prstGeom>
          <a:noFill/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C043196A-8F21-48A8-8C78-77C6AFA1F362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52531" y="3473158"/>
            <a:ext cx="4119772" cy="3782948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 rot="16200000">
            <a:off x="5671191" y="-3428803"/>
            <a:ext cx="818990" cy="768891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5" name="TextBox 4"/>
          <p:cNvSpPr txBox="1"/>
          <p:nvPr/>
        </p:nvSpPr>
        <p:spPr>
          <a:xfrm>
            <a:off x="2826703" y="110333"/>
            <a:ext cx="62540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schemeClr val="bg1"/>
                </a:solidFill>
              </a:rPr>
              <a:t>Выбросы ПГ от сектора охлаждения</a:t>
            </a:r>
            <a:endParaRPr lang="id-ID" sz="2800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rot="16200000">
            <a:off x="6027852" y="-3954647"/>
            <a:ext cx="110337" cy="80111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62576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 rot="16200000">
            <a:off x="2666999" y="-2667004"/>
            <a:ext cx="6858001" cy="121920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dirty="0"/>
          </a:p>
        </p:txBody>
      </p:sp>
      <p:sp>
        <p:nvSpPr>
          <p:cNvPr id="15" name="Rectangle 14"/>
          <p:cNvSpPr/>
          <p:nvPr/>
        </p:nvSpPr>
        <p:spPr>
          <a:xfrm>
            <a:off x="-151075" y="-4"/>
            <a:ext cx="5827594" cy="6858000"/>
          </a:xfrm>
          <a:prstGeom prst="rect">
            <a:avLst/>
          </a:prstGeom>
          <a:solidFill>
            <a:srgbClr val="B6D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465331" y="2841243"/>
            <a:ext cx="340743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Выбросы </a:t>
            </a:r>
            <a:r>
              <a:rPr lang="mk-MK" sz="2800" b="1" dirty="0"/>
              <a:t>CO</a:t>
            </a:r>
            <a:r>
              <a:rPr lang="mk-MK" sz="2800" b="1" baseline="-25000" dirty="0"/>
              <a:t>2</a:t>
            </a:r>
            <a:r>
              <a:rPr lang="mk-MK" sz="2800" b="1" dirty="0"/>
              <a:t> </a:t>
            </a:r>
            <a:r>
              <a:rPr lang="mk-MK" sz="2800" b="1" dirty="0" smtClean="0"/>
              <a:t>из зданий, связанные с энергией</a:t>
            </a:r>
            <a:endParaRPr lang="id-ID" sz="2800" b="1" dirty="0">
              <a:solidFill>
                <a:schemeClr val="bg2">
                  <a:lumMod val="50000"/>
                </a:schemeClr>
              </a:solidFill>
              <a:latin typeface="Montserrat Alternates ExLight" pitchFamily="50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81778" y="671691"/>
            <a:ext cx="6104964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u="sng" dirty="0" smtClean="0">
                <a:solidFill>
                  <a:srgbClr val="0070C0"/>
                </a:solidFill>
              </a:rPr>
              <a:t>Конференция </a:t>
            </a:r>
            <a:r>
              <a:rPr lang="ru-RU" u="sng" dirty="0">
                <a:solidFill>
                  <a:srgbClr val="0070C0"/>
                </a:solidFill>
              </a:rPr>
              <a:t>по изменению климата в Катовице </a:t>
            </a:r>
            <a:r>
              <a:rPr lang="ru-RU" dirty="0"/>
              <a:t>(7 декабря 2018 г.) </a:t>
            </a:r>
            <a:r>
              <a:rPr lang="ru-RU" dirty="0" smtClean="0"/>
              <a:t>Потребуются </a:t>
            </a:r>
            <a:r>
              <a:rPr lang="ru-RU" dirty="0"/>
              <a:t>решительные </a:t>
            </a:r>
            <a:r>
              <a:rPr lang="ru-RU" dirty="0" smtClean="0"/>
              <a:t>действия от правительств, городов </a:t>
            </a:r>
            <a:r>
              <a:rPr lang="ru-RU" dirty="0"/>
              <a:t>и </a:t>
            </a:r>
            <a:r>
              <a:rPr lang="ru-RU" dirty="0" smtClean="0"/>
              <a:t>бизнеса, </a:t>
            </a:r>
            <a:r>
              <a:rPr lang="ru-RU" dirty="0"/>
              <a:t>чтобы 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мировой сектор 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зданий и сооружений</a:t>
            </a:r>
            <a:r>
              <a:rPr lang="ru-RU" dirty="0"/>
              <a:t> </a:t>
            </a:r>
            <a:r>
              <a:rPr lang="ru-RU" b="1" dirty="0"/>
              <a:t>сократил свой углеродный след </a:t>
            </a:r>
            <a:r>
              <a:rPr lang="ru-RU" dirty="0"/>
              <a:t>в соответствии с международными соглашениями.</a:t>
            </a:r>
            <a:endParaRPr lang="en-US" dirty="0" smtClean="0"/>
          </a:p>
          <a:p>
            <a:pPr algn="just">
              <a:buFont typeface="Arial" pitchFamily="34" charset="0"/>
              <a:buChar char="•"/>
            </a:pPr>
            <a:endParaRPr lang="mk-MK" dirty="0" smtClean="0"/>
          </a:p>
          <a:p>
            <a:pPr algn="just">
              <a:buFont typeface="Arial" pitchFamily="34" charset="0"/>
              <a:buChar char="•"/>
            </a:pPr>
            <a:r>
              <a:rPr lang="en-US" b="1" dirty="0" smtClean="0"/>
              <a:t> </a:t>
            </a:r>
            <a:r>
              <a:rPr lang="ru-RU" b="1" dirty="0" smtClean="0"/>
              <a:t>Повышение </a:t>
            </a:r>
            <a:r>
              <a:rPr lang="ru-RU" b="1" dirty="0"/>
              <a:t>эффективности </a:t>
            </a:r>
            <a:r>
              <a:rPr lang="ru-RU" dirty="0"/>
              <a:t>также достигается благодаря переходу на энергосберегающие технологии, такие как </a:t>
            </a:r>
            <a:r>
              <a:rPr lang="ru-RU" u="sng" dirty="0"/>
              <a:t>тепловые насосы, улучшенные окна и изоляция, использование менее энергоемких материалов и проектирование зданий</a:t>
            </a:r>
            <a:r>
              <a:rPr lang="ru-RU" u="sng" dirty="0" smtClean="0"/>
              <a:t>.</a:t>
            </a:r>
          </a:p>
          <a:p>
            <a:pPr algn="just"/>
            <a:endParaRPr lang="ru-RU" dirty="0" smtClean="0"/>
          </a:p>
          <a:p>
            <a:pPr algn="just"/>
            <a:r>
              <a:rPr lang="ru-RU" dirty="0" smtClean="0"/>
              <a:t>На </a:t>
            </a:r>
            <a:r>
              <a:rPr lang="ru-RU" dirty="0"/>
              <a:t>отопление и охлаждение зданий приходится </a:t>
            </a:r>
            <a:r>
              <a:rPr lang="ru-RU" b="1" dirty="0"/>
              <a:t>~ 40% всей энергии, производимой в ЕС.</a:t>
            </a:r>
          </a:p>
          <a:p>
            <a:pPr algn="just"/>
            <a:endParaRPr lang="ru-RU" dirty="0"/>
          </a:p>
          <a:p>
            <a:pPr algn="just"/>
            <a:r>
              <a:rPr lang="ru-RU" dirty="0"/>
              <a:t>Строительный сектор - огромный двигатель мировой экономики - на его долю по-прежнему приходится значительная </a:t>
            </a:r>
            <a:r>
              <a:rPr lang="ru-RU" dirty="0" smtClean="0"/>
              <a:t>доля </a:t>
            </a:r>
            <a:r>
              <a:rPr lang="ru-RU" b="1" dirty="0" smtClean="0"/>
              <a:t>39</a:t>
            </a:r>
            <a:r>
              <a:rPr lang="ru-RU" b="1" dirty="0"/>
              <a:t>% от общего объема выбросов CO2, связанных с </a:t>
            </a:r>
            <a:r>
              <a:rPr lang="ru-RU" b="1" dirty="0" smtClean="0"/>
              <a:t>энергией, </a:t>
            </a:r>
            <a:r>
              <a:rPr lang="ru-RU" b="1" dirty="0"/>
              <a:t>и 36% от конечного потребления энергии</a:t>
            </a:r>
            <a:r>
              <a:rPr lang="ru-RU" b="1" dirty="0" smtClean="0"/>
              <a:t>.</a:t>
            </a:r>
            <a:endParaRPr lang="mk-MK" dirty="0"/>
          </a:p>
        </p:txBody>
      </p:sp>
      <p:sp>
        <p:nvSpPr>
          <p:cNvPr id="8" name="Rectangle 7"/>
          <p:cNvSpPr/>
          <p:nvPr/>
        </p:nvSpPr>
        <p:spPr>
          <a:xfrm>
            <a:off x="1610060" y="2599376"/>
            <a:ext cx="1090612" cy="98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6518" y="3119"/>
            <a:ext cx="6515482" cy="6854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576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 rot="16200000">
            <a:off x="2666999" y="-2667004"/>
            <a:ext cx="6858001" cy="121920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17" name="Rectangle 16"/>
          <p:cNvSpPr/>
          <p:nvPr/>
        </p:nvSpPr>
        <p:spPr>
          <a:xfrm rot="16200000">
            <a:off x="5535432" y="-5537716"/>
            <a:ext cx="1121133" cy="1219200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7" name="TextBox 6"/>
          <p:cNvSpPr txBox="1"/>
          <p:nvPr/>
        </p:nvSpPr>
        <p:spPr>
          <a:xfrm>
            <a:off x="1597980" y="116390"/>
            <a:ext cx="884975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</a:rPr>
              <a:t>КАКОЙ ЕДИНСТВЕННЫЙ САМЫЙ ЭФФЕКТИВНЫЙ СПОСОБ СНИЖЕНИЯ ВЫБРОСОВ ПАРНИКОВЫХ ГАЗОВ?</a:t>
            </a:r>
            <a:endParaRPr lang="mk-MK" sz="2800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3259" y="846532"/>
            <a:ext cx="6370697" cy="6011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extBox 8"/>
          <p:cNvSpPr txBox="1"/>
          <p:nvPr/>
        </p:nvSpPr>
        <p:spPr>
          <a:xfrm>
            <a:off x="6335044" y="6509997"/>
            <a:ext cx="575349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u="sng" dirty="0" smtClean="0">
                <a:hlinkClick r:id="rId4"/>
              </a:rPr>
              <a:t>Source: https://www.economist.com/leaders/2018/08/25/how-to-make-air-conditioning-more-sustainable</a:t>
            </a:r>
            <a:r>
              <a:rPr lang="mk-MK" sz="1000" i="1" dirty="0" smtClean="0"/>
              <a:t> </a:t>
            </a:r>
          </a:p>
          <a:p>
            <a:endParaRPr lang="mk-MK" dirty="0"/>
          </a:p>
        </p:txBody>
      </p:sp>
      <p:pic>
        <p:nvPicPr>
          <p:cNvPr id="4098" name="Picture 2" descr="C:\Users\NK\Desktop\Pvmp_plan_(Premium_Vegetarian_Meal_Plan)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9308" y="3732664"/>
            <a:ext cx="2511189" cy="2292823"/>
          </a:xfrm>
          <a:prstGeom prst="rect">
            <a:avLst/>
          </a:prstGeom>
          <a:noFill/>
        </p:spPr>
      </p:pic>
      <p:pic>
        <p:nvPicPr>
          <p:cNvPr id="4099" name="Picture 3" descr="C:\Users\NK\Desktop\index.jpg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87017" y="1438346"/>
            <a:ext cx="2619375" cy="2082776"/>
          </a:xfrm>
          <a:prstGeom prst="rect">
            <a:avLst/>
          </a:prstGeom>
          <a:noFill/>
        </p:spPr>
      </p:pic>
      <p:sp>
        <p:nvSpPr>
          <p:cNvPr id="11" name="Rectangle 10"/>
          <p:cNvSpPr/>
          <p:nvPr/>
        </p:nvSpPr>
        <p:spPr>
          <a:xfrm>
            <a:off x="75060" y="2122263"/>
            <a:ext cx="279210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Увеличение на 1/3 глобальных </a:t>
            </a:r>
            <a:r>
              <a:rPr lang="ru-RU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поездок </a:t>
            </a:r>
            <a:r>
              <a:rPr lang="ru-RU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на работу на велосипеде</a:t>
            </a:r>
            <a:endParaRPr lang="ru-RU" b="1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pPr algn="ctr">
              <a:defRPr/>
            </a:pPr>
            <a:r>
              <a:rPr lang="ru-RU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(2,3 миллиарда </a:t>
            </a:r>
            <a:r>
              <a:rPr lang="ru-RU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тонн </a:t>
            </a:r>
            <a:r>
              <a:rPr lang="en-US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CO</a:t>
            </a:r>
            <a:r>
              <a:rPr lang="en-US" b="1" baseline="-25000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2</a:t>
            </a:r>
            <a:r>
              <a:rPr lang="en-US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)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4355" y="5976111"/>
            <a:ext cx="29410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accent6">
                    <a:lumMod val="50000"/>
                  </a:schemeClr>
                </a:solidFill>
              </a:rPr>
              <a:t>Стать вегетарианцами</a:t>
            </a:r>
            <a:endParaRPr lang="ru-RU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r>
              <a:rPr lang="ru-RU" dirty="0">
                <a:solidFill>
                  <a:schemeClr val="accent6">
                    <a:lumMod val="50000"/>
                  </a:schemeClr>
                </a:solidFill>
              </a:rPr>
              <a:t>(6,6 млрд тонн СО</a:t>
            </a:r>
            <a:r>
              <a:rPr lang="ru-RU" baseline="-25000" dirty="0">
                <a:solidFill>
                  <a:schemeClr val="accent6">
                    <a:lumMod val="50000"/>
                  </a:schemeClr>
                </a:solidFill>
              </a:rPr>
              <a:t>2</a:t>
            </a:r>
            <a:r>
              <a:rPr lang="ru-RU" dirty="0">
                <a:solidFill>
                  <a:schemeClr val="accent6">
                    <a:lumMod val="50000"/>
                  </a:schemeClr>
                </a:solidFill>
              </a:rPr>
              <a:t>)</a:t>
            </a:r>
            <a:endParaRPr lang="mk-MK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100" name="Picture 4" descr="C:\Users\NK\Desktop\figure-new-life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4184" y="1481953"/>
            <a:ext cx="2909915" cy="2095209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/>
        </p:nvSpPr>
        <p:spPr>
          <a:xfrm>
            <a:off x="3256077" y="2273920"/>
            <a:ext cx="316911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Заново посадить 2/3 </a:t>
            </a:r>
            <a:r>
              <a:rPr lang="ru-RU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деградированных тропических лесов</a:t>
            </a:r>
          </a:p>
          <a:p>
            <a:pPr algn="ctr"/>
            <a:r>
              <a:rPr lang="ru-RU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(6,1 млрд тонн CO</a:t>
            </a:r>
            <a:r>
              <a:rPr lang="ru-RU" b="1" baseline="-250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2</a:t>
            </a:r>
            <a:r>
              <a:rPr lang="ru-RU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)</a:t>
            </a:r>
            <a:endParaRPr lang="en-US" b="1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4101" name="Picture 5" descr="C:\Users\NK\Desktop\air-conditioner-r410a-refrigerant-gas-500x50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20016" y="3781896"/>
            <a:ext cx="1678675" cy="2659797"/>
          </a:xfrm>
          <a:prstGeom prst="rect">
            <a:avLst/>
          </a:prstGeom>
          <a:noFill/>
        </p:spPr>
      </p:pic>
      <p:sp>
        <p:nvSpPr>
          <p:cNvPr id="16" name="Rectangle 15"/>
          <p:cNvSpPr/>
          <p:nvPr/>
        </p:nvSpPr>
        <p:spPr>
          <a:xfrm>
            <a:off x="2811437" y="5597519"/>
            <a:ext cx="34201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Замена хладагента</a:t>
            </a:r>
          </a:p>
          <a:p>
            <a:pPr algn="ctr"/>
            <a:r>
              <a:rPr lang="ru-RU" dirty="0" smtClean="0"/>
              <a:t>к </a:t>
            </a:r>
            <a:r>
              <a:rPr lang="ru-RU" dirty="0"/>
              <a:t>2050 году ↓</a:t>
            </a:r>
            <a:r>
              <a:rPr lang="ru-RU" dirty="0" smtClean="0"/>
              <a:t>общего количества </a:t>
            </a:r>
            <a:r>
              <a:rPr lang="ru-RU" dirty="0"/>
              <a:t>парниковых газов в эквиваленте 90 миллиардов тонн CO</a:t>
            </a:r>
            <a:r>
              <a:rPr lang="ru-RU" baseline="-25000" dirty="0"/>
              <a:t>2</a:t>
            </a:r>
            <a:endParaRPr lang="mk-MK" baseline="-25000" dirty="0"/>
          </a:p>
        </p:txBody>
      </p:sp>
      <p:sp>
        <p:nvSpPr>
          <p:cNvPr id="19" name="Rectangle 18"/>
          <p:cNvSpPr/>
          <p:nvPr/>
        </p:nvSpPr>
        <p:spPr>
          <a:xfrm>
            <a:off x="6618036" y="1503772"/>
            <a:ext cx="5192215" cy="4978916"/>
          </a:xfrm>
          <a:prstGeom prst="rect">
            <a:avLst/>
          </a:prstGeom>
          <a:noFill/>
          <a:ln w="381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67923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4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204447" y="8153"/>
            <a:ext cx="7987553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600" i="1" dirty="0" smtClean="0">
                <a:solidFill>
                  <a:srgbClr val="FF0000"/>
                </a:solidFill>
              </a:rPr>
              <a:t>Кигалийская поправка по </a:t>
            </a:r>
            <a:r>
              <a:rPr lang="ru-RU" sz="2600" b="1" i="1" dirty="0">
                <a:solidFill>
                  <a:srgbClr val="FF0000"/>
                </a:solidFill>
              </a:rPr>
              <a:t>поэтапному отказу от ГФУ</a:t>
            </a:r>
          </a:p>
          <a:p>
            <a:pPr algn="ctr"/>
            <a:r>
              <a:rPr lang="ru-RU" sz="2600" i="1" dirty="0">
                <a:solidFill>
                  <a:schemeClr val="tx1"/>
                </a:solidFill>
              </a:rPr>
              <a:t>- </a:t>
            </a:r>
            <a:r>
              <a:rPr lang="ru-RU" sz="2600" i="1" dirty="0" smtClean="0">
                <a:solidFill>
                  <a:schemeClr val="tx1"/>
                </a:solidFill>
              </a:rPr>
              <a:t>Нацелена на хладагенты группы ГФУ </a:t>
            </a:r>
            <a:r>
              <a:rPr lang="ru-RU" sz="2600" i="1" dirty="0">
                <a:solidFill>
                  <a:schemeClr val="tx1"/>
                </a:solidFill>
              </a:rPr>
              <a:t>с высоким </a:t>
            </a:r>
            <a:r>
              <a:rPr lang="ru-RU" sz="2600" i="1" dirty="0" smtClean="0">
                <a:solidFill>
                  <a:schemeClr val="tx1"/>
                </a:solidFill>
              </a:rPr>
              <a:t>ПГП</a:t>
            </a:r>
            <a:endParaRPr lang="ru-RU" sz="2600" i="1" dirty="0">
              <a:solidFill>
                <a:schemeClr val="tx1"/>
              </a:solidFill>
            </a:endParaRPr>
          </a:p>
          <a:p>
            <a:pPr algn="ctr"/>
            <a:r>
              <a:rPr lang="ru-RU" sz="2600" i="1" dirty="0">
                <a:solidFill>
                  <a:schemeClr val="tx1"/>
                </a:solidFill>
              </a:rPr>
              <a:t>- Сокращение производства и потребления ГФУ на 85%</a:t>
            </a:r>
            <a:endParaRPr lang="en-US" sz="2600" i="1" dirty="0" smtClean="0">
              <a:solidFill>
                <a:schemeClr val="tx1"/>
              </a:solidFill>
            </a:endParaRPr>
          </a:p>
          <a:p>
            <a:pPr algn="ctr"/>
            <a:endParaRPr lang="en-US" sz="2600" i="1" dirty="0">
              <a:solidFill>
                <a:schemeClr val="tx1"/>
              </a:solidFill>
            </a:endParaRPr>
          </a:p>
          <a:p>
            <a:pPr algn="ctr"/>
            <a:r>
              <a:rPr lang="en-US" sz="2600" dirty="0">
                <a:solidFill>
                  <a:schemeClr val="tx1"/>
                </a:solidFill>
              </a:rPr>
              <a:t>• </a:t>
            </a:r>
            <a:r>
              <a:rPr lang="ru-RU" sz="2600" dirty="0" smtClean="0">
                <a:solidFill>
                  <a:srgbClr val="FF0000"/>
                </a:solidFill>
              </a:rPr>
              <a:t>Стороны Монреальского протокол признают </a:t>
            </a:r>
            <a:r>
              <a:rPr lang="ru-RU" sz="2600" b="1" dirty="0" smtClean="0">
                <a:solidFill>
                  <a:srgbClr val="FF0000"/>
                </a:solidFill>
              </a:rPr>
              <a:t>важность ЭЭ</a:t>
            </a:r>
            <a:endParaRPr lang="en-US" sz="2600" b="1" dirty="0" smtClean="0">
              <a:solidFill>
                <a:srgbClr val="FF0000"/>
              </a:solidFill>
            </a:endParaRPr>
          </a:p>
          <a:p>
            <a:pPr algn="ctr"/>
            <a:endParaRPr lang="en-US" sz="2600" b="1" dirty="0">
              <a:solidFill>
                <a:schemeClr val="tx1"/>
              </a:solidFill>
            </a:endParaRPr>
          </a:p>
          <a:p>
            <a:pPr algn="ctr"/>
            <a:r>
              <a:rPr lang="en-US" sz="2600" dirty="0">
                <a:solidFill>
                  <a:schemeClr val="tx1"/>
                </a:solidFill>
              </a:rPr>
              <a:t>• </a:t>
            </a:r>
            <a:r>
              <a:rPr lang="ru-RU" sz="2600" dirty="0" smtClean="0">
                <a:solidFill>
                  <a:schemeClr val="tx1"/>
                </a:solidFill>
              </a:rPr>
              <a:t>КП</a:t>
            </a:r>
            <a:r>
              <a:rPr lang="en-US" sz="2600" dirty="0" smtClean="0">
                <a:solidFill>
                  <a:schemeClr val="tx1"/>
                </a:solidFill>
              </a:rPr>
              <a:t> </a:t>
            </a:r>
            <a:r>
              <a:rPr lang="ru-RU" sz="2600" dirty="0" smtClean="0">
                <a:solidFill>
                  <a:schemeClr val="tx1"/>
                </a:solidFill>
              </a:rPr>
              <a:t>рассматривалась </a:t>
            </a:r>
            <a:r>
              <a:rPr lang="ru-RU" sz="2600" b="1" dirty="0">
                <a:solidFill>
                  <a:schemeClr val="tx1"/>
                </a:solidFill>
              </a:rPr>
              <a:t>как новая возможность улучшить </a:t>
            </a:r>
            <a:r>
              <a:rPr lang="ru-RU" sz="2600" b="1" dirty="0" smtClean="0">
                <a:solidFill>
                  <a:schemeClr val="tx1"/>
                </a:solidFill>
              </a:rPr>
              <a:t>и/или поддержать энергоэффективность </a:t>
            </a:r>
            <a:r>
              <a:rPr lang="ru-RU" sz="2600" dirty="0">
                <a:solidFill>
                  <a:schemeClr val="tx1"/>
                </a:solidFill>
              </a:rPr>
              <a:t>→ </a:t>
            </a:r>
            <a:r>
              <a:rPr lang="ru-RU" sz="2600" dirty="0">
                <a:solidFill>
                  <a:srgbClr val="FF0000"/>
                </a:solidFill>
              </a:rPr>
              <a:t>реализовать значительные климатические преимущества</a:t>
            </a:r>
            <a:endParaRPr lang="en-US" sz="2600" dirty="0">
              <a:solidFill>
                <a:srgbClr val="FF0000"/>
              </a:solidFill>
            </a:endParaRPr>
          </a:p>
          <a:p>
            <a:pPr algn="ctr"/>
            <a:r>
              <a:rPr lang="en-US" sz="2600" dirty="0" smtClean="0">
                <a:solidFill>
                  <a:schemeClr val="tx1"/>
                </a:solidFill>
              </a:rPr>
              <a:t>• </a:t>
            </a:r>
            <a:r>
              <a:rPr lang="ru-RU" sz="2600" dirty="0" smtClean="0">
                <a:solidFill>
                  <a:srgbClr val="FF0000"/>
                </a:solidFill>
              </a:rPr>
              <a:t>Смена хладагентов </a:t>
            </a:r>
            <a:r>
              <a:rPr lang="ru-RU" sz="2600" dirty="0">
                <a:solidFill>
                  <a:srgbClr val="FF0000"/>
                </a:solidFill>
              </a:rPr>
              <a:t>и </a:t>
            </a:r>
            <a:r>
              <a:rPr lang="ru-RU" sz="2600" dirty="0" smtClean="0">
                <a:solidFill>
                  <a:srgbClr val="FF0000"/>
                </a:solidFill>
              </a:rPr>
              <a:t>сокращение </a:t>
            </a:r>
            <a:r>
              <a:rPr lang="ru-RU" sz="2600" dirty="0">
                <a:solidFill>
                  <a:srgbClr val="FF0000"/>
                </a:solidFill>
              </a:rPr>
              <a:t>потребления энергии </a:t>
            </a:r>
            <a:r>
              <a:rPr lang="ru-RU" sz="2600" dirty="0" smtClean="0">
                <a:solidFill>
                  <a:schemeClr val="tx1"/>
                </a:solidFill>
              </a:rPr>
              <a:t>имеют </a:t>
            </a:r>
            <a:r>
              <a:rPr lang="ru-RU" sz="2600" dirty="0">
                <a:solidFill>
                  <a:schemeClr val="tx1"/>
                </a:solidFill>
              </a:rPr>
              <a:t>решающее значение для </a:t>
            </a:r>
            <a:r>
              <a:rPr lang="ru-RU" sz="2600" b="1" dirty="0">
                <a:solidFill>
                  <a:schemeClr val="tx1"/>
                </a:solidFill>
              </a:rPr>
              <a:t>предотвращения </a:t>
            </a:r>
            <a:r>
              <a:rPr lang="ru-RU" sz="2600" b="1" dirty="0" smtClean="0">
                <a:solidFill>
                  <a:schemeClr val="tx1"/>
                </a:solidFill>
              </a:rPr>
              <a:t>нежелательных последствий</a:t>
            </a:r>
            <a:r>
              <a:rPr lang="ru-RU" sz="2600" dirty="0" smtClean="0">
                <a:solidFill>
                  <a:schemeClr val="tx1"/>
                </a:solidFill>
              </a:rPr>
              <a:t> → </a:t>
            </a:r>
            <a:r>
              <a:rPr lang="ru-RU" sz="2600" dirty="0">
                <a:solidFill>
                  <a:schemeClr val="tx1"/>
                </a:solidFill>
              </a:rPr>
              <a:t>связь с другими </a:t>
            </a:r>
            <a:r>
              <a:rPr lang="ru-RU" sz="2600" dirty="0" smtClean="0">
                <a:solidFill>
                  <a:schemeClr val="tx1"/>
                </a:solidFill>
              </a:rPr>
              <a:t>политическими мерами</a:t>
            </a:r>
            <a:endParaRPr lang="id-ID" sz="2600" i="1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58022" y="5140190"/>
            <a:ext cx="1847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mk-MK" sz="5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rot="16200000">
            <a:off x="-1299754" y="1299750"/>
            <a:ext cx="6858001" cy="425849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dirty="0"/>
          </a:p>
        </p:txBody>
      </p:sp>
      <p:sp>
        <p:nvSpPr>
          <p:cNvPr id="8" name="TextBox 7"/>
          <p:cNvSpPr txBox="1"/>
          <p:nvPr/>
        </p:nvSpPr>
        <p:spPr>
          <a:xfrm>
            <a:off x="204083" y="1329137"/>
            <a:ext cx="4000364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 err="1" smtClean="0">
                <a:solidFill>
                  <a:schemeClr val="bg1"/>
                </a:solidFill>
              </a:rPr>
              <a:t>Энерго</a:t>
            </a:r>
            <a:r>
              <a:rPr lang="ru-RU" sz="4400" b="1" dirty="0" smtClean="0">
                <a:solidFill>
                  <a:schemeClr val="bg1"/>
                </a:solidFill>
              </a:rPr>
              <a:t>-</a:t>
            </a:r>
            <a:endParaRPr lang="en-US" sz="4400" b="1" dirty="0" smtClean="0">
              <a:solidFill>
                <a:schemeClr val="bg1"/>
              </a:solidFill>
            </a:endParaRPr>
          </a:p>
          <a:p>
            <a:r>
              <a:rPr lang="ru-RU" sz="4400" b="1" dirty="0" smtClean="0">
                <a:solidFill>
                  <a:schemeClr val="bg1"/>
                </a:solidFill>
              </a:rPr>
              <a:t>эффективность</a:t>
            </a:r>
            <a:endParaRPr lang="en-US" sz="4400" b="1" dirty="0" smtClean="0">
              <a:solidFill>
                <a:schemeClr val="bg1"/>
              </a:solidFill>
            </a:endParaRPr>
          </a:p>
          <a:p>
            <a:endParaRPr lang="en-US" sz="54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5400" b="1" dirty="0" smtClean="0">
                <a:solidFill>
                  <a:schemeClr val="accent6">
                    <a:lumMod val="75000"/>
                  </a:schemeClr>
                </a:solidFill>
              </a:rPr>
              <a:t>                    </a:t>
            </a:r>
            <a:endParaRPr lang="mk-MK" sz="5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59986" y="1230712"/>
            <a:ext cx="1090612" cy="98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9" name="TextBox 8"/>
          <p:cNvSpPr txBox="1"/>
          <p:nvPr/>
        </p:nvSpPr>
        <p:spPr>
          <a:xfrm>
            <a:off x="87301" y="4868090"/>
            <a:ext cx="429880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u="sng" dirty="0" smtClean="0">
                <a:solidFill>
                  <a:schemeClr val="bg1"/>
                </a:solidFill>
              </a:rPr>
              <a:t>Эффективное </a:t>
            </a:r>
          </a:p>
          <a:p>
            <a:r>
              <a:rPr lang="ru-RU" sz="3200" b="1" u="sng" dirty="0" smtClean="0">
                <a:solidFill>
                  <a:schemeClr val="bg1"/>
                </a:solidFill>
              </a:rPr>
              <a:t>потребление энергии</a:t>
            </a:r>
            <a:r>
              <a:rPr lang="en-US" sz="3200" b="1" u="sng" dirty="0" smtClean="0">
                <a:solidFill>
                  <a:schemeClr val="bg1"/>
                </a:solidFill>
              </a:rPr>
              <a:t>!!</a:t>
            </a:r>
            <a:endParaRPr lang="mk-MK" sz="3200" b="1" u="sng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76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6D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2" name="Rectangle 11"/>
          <p:cNvSpPr/>
          <p:nvPr/>
        </p:nvSpPr>
        <p:spPr>
          <a:xfrm rot="16200000">
            <a:off x="4330015" y="-4034333"/>
            <a:ext cx="898499" cy="955853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-1" y="295682"/>
            <a:ext cx="11184000" cy="46949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План по смене</a:t>
            </a:r>
            <a:r>
              <a:rPr kumimoji="0" lang="ru-RU" sz="36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хладагентов</a:t>
            </a:r>
            <a:endParaRPr kumimoji="0" lang="en-US" sz="3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lvl="0">
              <a:lnSpc>
                <a:spcPct val="90000"/>
              </a:lnSpc>
              <a:spcBef>
                <a:spcPct val="0"/>
              </a:spcBef>
              <a:defRPr/>
            </a:pPr>
            <a:r>
              <a:rPr lang="ru-RU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Необходима синергия между энергетической и экологической политикой и законодательством</a:t>
            </a:r>
            <a:endParaRPr kumimoji="0" lang="mk-MK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14258" y="6384743"/>
            <a:ext cx="12747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 smtClean="0"/>
              <a:t>Source: </a:t>
            </a:r>
            <a:r>
              <a:rPr lang="en-US" sz="1000" i="1" dirty="0" err="1" smtClean="0"/>
              <a:t>OzoneAction</a:t>
            </a:r>
            <a:endParaRPr lang="mk-MK" sz="1000" i="1" dirty="0"/>
          </a:p>
        </p:txBody>
      </p:sp>
      <p:sp>
        <p:nvSpPr>
          <p:cNvPr id="6" name="Oval 5"/>
          <p:cNvSpPr/>
          <p:nvPr/>
        </p:nvSpPr>
        <p:spPr>
          <a:xfrm>
            <a:off x="1950720" y="3014933"/>
            <a:ext cx="2748832" cy="287206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Национальная энергетическая стратегия</a:t>
            </a:r>
            <a:endParaRPr lang="mk-MK" b="1" dirty="0"/>
          </a:p>
        </p:txBody>
      </p:sp>
      <p:sp>
        <p:nvSpPr>
          <p:cNvPr id="3" name="Oval 2"/>
          <p:cNvSpPr/>
          <p:nvPr/>
        </p:nvSpPr>
        <p:spPr>
          <a:xfrm>
            <a:off x="532234" y="1458372"/>
            <a:ext cx="3091549" cy="26781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Климатическое </a:t>
            </a:r>
            <a:r>
              <a:rPr lang="ru-RU" b="1" dirty="0" smtClean="0"/>
              <a:t>законодательство/ снижение выбросов при постепенном отказе от ГФУ</a:t>
            </a:r>
            <a:endParaRPr lang="mk-MK" b="1" dirty="0"/>
          </a:p>
        </p:txBody>
      </p:sp>
      <p:sp>
        <p:nvSpPr>
          <p:cNvPr id="5" name="Oval 4"/>
          <p:cNvSpPr/>
          <p:nvPr/>
        </p:nvSpPr>
        <p:spPr>
          <a:xfrm>
            <a:off x="3143793" y="1481832"/>
            <a:ext cx="2779636" cy="250669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План управления поэтапного </a:t>
            </a:r>
            <a:r>
              <a:rPr lang="ru-RU" b="1" dirty="0"/>
              <a:t>отказа </a:t>
            </a:r>
            <a:r>
              <a:rPr lang="ru-RU" b="1" dirty="0" smtClean="0"/>
              <a:t>от ГХФУ</a:t>
            </a:r>
            <a:endParaRPr lang="mk-MK" b="1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8767466"/>
              </p:ext>
            </p:extLst>
          </p:nvPr>
        </p:nvGraphicFramePr>
        <p:xfrm>
          <a:off x="6118038" y="1458373"/>
          <a:ext cx="5842314" cy="5203083"/>
        </p:xfrm>
        <a:graphic>
          <a:graphicData uri="http://schemas.openxmlformats.org/drawingml/2006/table">
            <a:tbl>
              <a:tblPr firstRow="1" firstCol="1" bandRow="1">
                <a:tableStyleId>{FABFCF23-3B69-468F-B69F-88F6DE6A72F2}</a:tableStyleId>
              </a:tblPr>
              <a:tblGrid>
                <a:gridCol w="292084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2146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061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Монреальский протокол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419" marR="5941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Энергия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419" marR="59419" marT="0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</a:rPr>
                        <a:t>Межведомственные консультационные группы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19" marR="5941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Межведомственные консультационные группы</a:t>
                      </a:r>
                      <a:endParaRPr lang="ru-RU" sz="105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419" marR="59419" marT="0" marB="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1384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</a:rPr>
                        <a:t>Законодательство и политика по охране озонового слоя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19" marR="5941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Минимальные стандарты энергетической эффективности и энергетическая политика</a:t>
                      </a:r>
                      <a:endParaRPr lang="ru-RU" sz="105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419" marR="59419" marT="0" marB="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794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</a:rPr>
                        <a:t>Сбор данных и анализ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19" marR="5941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Сбор данных и анализ</a:t>
                      </a:r>
                      <a:endParaRPr lang="ru-RU" sz="105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419" marR="59419" marT="0" marB="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</a:rPr>
                        <a:t>Маркировка </a:t>
                      </a:r>
                      <a:r>
                        <a:rPr lang="ru-RU" sz="1400" b="1" kern="1200" dirty="0" err="1">
                          <a:effectLst/>
                        </a:rPr>
                        <a:t>озонобезопасной</a:t>
                      </a:r>
                      <a:r>
                        <a:rPr lang="ru-RU" sz="1400" b="1" kern="1200" dirty="0">
                          <a:effectLst/>
                        </a:rPr>
                        <a:t> продукции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19" marR="5941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Маркировка энергоэффективности продукции</a:t>
                      </a:r>
                      <a:endParaRPr lang="ru-RU" sz="105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419" marR="59419" marT="0" marB="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</a:rPr>
                        <a:t>Стандарты по ХОКВ оборудованию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19" marR="5941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Стандарты для оборудования и компонентов</a:t>
                      </a:r>
                      <a:endParaRPr lang="ru-RU" sz="105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419" marR="59419" marT="0" marB="0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3794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</a:rPr>
                        <a:t>Строительные нормы и правила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19" marR="5941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Строительные нормы и правила</a:t>
                      </a:r>
                      <a:endParaRPr lang="ru-RU" sz="105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419" marR="59419" marT="0" marB="0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</a:rPr>
                        <a:t>Программы сертификации строительства зеленых зданий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19" marR="5941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Программы сертификации энергоэффективных зданий</a:t>
                      </a:r>
                      <a:endParaRPr lang="ru-RU" sz="105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419" marR="59419" marT="0" marB="0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</a:rPr>
                        <a:t>Программы государственных закупок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19" marR="5941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Программы государственных закупок</a:t>
                      </a:r>
                      <a:endParaRPr lang="ru-RU" sz="105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419" marR="59419" marT="0" marB="0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</a:rPr>
                        <a:t>Консультации и контакты с заинтересованными сторонами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19" marR="5941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Консультации и контакты с заинтересованными сторонами</a:t>
                      </a:r>
                      <a:endParaRPr lang="ru-RU" sz="105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419" marR="59419" marT="0" marB="0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</a:rPr>
                        <a:t>Стимулирующие мероприятия, НРМР 2 стадия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19" marR="5941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Будущие проекты в энергетическом секторе</a:t>
                      </a:r>
                      <a:endParaRPr lang="ru-RU" sz="105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419" marR="59419" marT="0" marB="0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</a:rPr>
                        <a:t>Обучение техников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419" marR="5941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Наращивание потенциала энергетического сектора</a:t>
                      </a:r>
                      <a:endParaRPr lang="ru-RU" sz="105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419" marR="59419" marT="0" marB="0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7777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1999" cy="6857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6" name="Rectangle 5"/>
          <p:cNvSpPr/>
          <p:nvPr/>
        </p:nvSpPr>
        <p:spPr>
          <a:xfrm rot="16200000">
            <a:off x="5277014" y="-5277019"/>
            <a:ext cx="1637973" cy="1219200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dirty="0"/>
          </a:p>
        </p:txBody>
      </p:sp>
      <p:sp>
        <p:nvSpPr>
          <p:cNvPr id="10" name="L-Shape 9"/>
          <p:cNvSpPr/>
          <p:nvPr/>
        </p:nvSpPr>
        <p:spPr>
          <a:xfrm rot="16200000" flipV="1">
            <a:off x="-564365" y="3186820"/>
            <a:ext cx="4436560" cy="2155947"/>
          </a:xfrm>
          <a:prstGeom prst="corner">
            <a:avLst>
              <a:gd name="adj1" fmla="val 46756"/>
              <a:gd name="adj2" fmla="val 22422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7" name="TextBox 6"/>
          <p:cNvSpPr txBox="1"/>
          <p:nvPr/>
        </p:nvSpPr>
        <p:spPr>
          <a:xfrm>
            <a:off x="1863633" y="2274823"/>
            <a:ext cx="954770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en-GB" sz="3200" dirty="0" smtClean="0"/>
              <a:t> </a:t>
            </a:r>
            <a:r>
              <a:rPr lang="ru-RU" sz="3200" dirty="0" smtClean="0"/>
              <a:t>Выбор хладагента </a:t>
            </a:r>
            <a:r>
              <a:rPr lang="en-GB" sz="3200" dirty="0" smtClean="0"/>
              <a:t>(‘</a:t>
            </a:r>
            <a:r>
              <a:rPr lang="ru-RU" sz="3200" dirty="0" smtClean="0"/>
              <a:t>практический</a:t>
            </a:r>
            <a:r>
              <a:rPr lang="en-GB" sz="3200" dirty="0" smtClean="0"/>
              <a:t>’ – </a:t>
            </a:r>
            <a:r>
              <a:rPr lang="ru-RU" sz="3200" dirty="0" smtClean="0"/>
              <a:t>обычно влияет на эффективность на</a:t>
            </a:r>
            <a:r>
              <a:rPr lang="en-GB" sz="3200" dirty="0" smtClean="0"/>
              <a:t> 5%- 10%)</a:t>
            </a:r>
          </a:p>
          <a:p>
            <a:pPr algn="just">
              <a:buFont typeface="Arial" pitchFamily="34" charset="0"/>
              <a:buChar char="•"/>
            </a:pPr>
            <a:r>
              <a:rPr lang="en-GB" sz="3200" dirty="0" smtClean="0"/>
              <a:t> </a:t>
            </a:r>
            <a:r>
              <a:rPr lang="ru-RU" sz="3200" dirty="0" smtClean="0"/>
              <a:t>Разработка </a:t>
            </a:r>
            <a:r>
              <a:rPr lang="ru-RU" sz="3200" dirty="0"/>
              <a:t>и </a:t>
            </a:r>
            <a:r>
              <a:rPr lang="ru-RU" sz="3200" dirty="0" smtClean="0"/>
              <a:t>подбор оборудования </a:t>
            </a:r>
            <a:endParaRPr lang="en-GB" sz="3200" dirty="0"/>
          </a:p>
          <a:p>
            <a:pPr algn="just">
              <a:buFont typeface="Arial" pitchFamily="34" charset="0"/>
              <a:buChar char="•"/>
            </a:pPr>
            <a:r>
              <a:rPr lang="ru-RU" sz="3200" dirty="0" smtClean="0"/>
              <a:t> Снижение нагрузки холодоснабжения</a:t>
            </a:r>
            <a:endParaRPr lang="mk-MK" sz="3200" dirty="0" smtClean="0"/>
          </a:p>
          <a:p>
            <a:pPr algn="just">
              <a:buFont typeface="Arial" pitchFamily="34" charset="0"/>
              <a:buChar char="•"/>
            </a:pPr>
            <a:r>
              <a:rPr lang="en-US" sz="3200" dirty="0" smtClean="0"/>
              <a:t> </a:t>
            </a:r>
            <a:r>
              <a:rPr lang="ru-RU" sz="3200" dirty="0" smtClean="0"/>
              <a:t>Надлежащая установка</a:t>
            </a:r>
            <a:endParaRPr lang="en-US" sz="3200" dirty="0" smtClean="0"/>
          </a:p>
          <a:p>
            <a:pPr algn="just">
              <a:buFont typeface="Arial" pitchFamily="34" charset="0"/>
              <a:buChar char="•"/>
            </a:pPr>
            <a:r>
              <a:rPr lang="en-US" sz="3200" dirty="0" smtClean="0"/>
              <a:t> </a:t>
            </a:r>
            <a:r>
              <a:rPr lang="ru-RU" sz="3200" dirty="0" smtClean="0"/>
              <a:t>Надлежащее сервисное обслуживание</a:t>
            </a:r>
            <a:endParaRPr lang="en-US" sz="3200" dirty="0" smtClean="0"/>
          </a:p>
          <a:p>
            <a:pPr algn="just">
              <a:buFont typeface="Arial" pitchFamily="34" charset="0"/>
              <a:buChar char="•"/>
            </a:pPr>
            <a:r>
              <a:rPr lang="en-US" sz="3200" dirty="0" smtClean="0"/>
              <a:t> </a:t>
            </a:r>
            <a:r>
              <a:rPr lang="ru-RU" sz="3200" dirty="0"/>
              <a:t>Эффективные </a:t>
            </a:r>
            <a:r>
              <a:rPr lang="ru-RU" sz="3200" dirty="0" smtClean="0"/>
              <a:t>модели/конструкции</a:t>
            </a:r>
            <a:endParaRPr lang="en-US" sz="3200" dirty="0" smtClean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58420" y="395560"/>
            <a:ext cx="12133580" cy="835521"/>
          </a:xfrm>
          <a:prstGeom prst="rect">
            <a:avLst/>
          </a:prstGeom>
        </p:spPr>
        <p:txBody>
          <a:bodyPr/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4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Обеспечение потребности </a:t>
            </a:r>
            <a:r>
              <a:rPr lang="ru-RU" sz="4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в охлаждении </a:t>
            </a:r>
            <a:endParaRPr lang="ru-RU" sz="4000" b="1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4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эффективно </a:t>
            </a:r>
            <a:r>
              <a:rPr lang="ru-RU" sz="40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и устойчиво</a:t>
            </a:r>
            <a:endParaRPr kumimoji="0" lang="mk-MK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361746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7993"/>
            <a:ext cx="12191999" cy="6857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4" name="Rectangle 13"/>
          <p:cNvSpPr/>
          <p:nvPr/>
        </p:nvSpPr>
        <p:spPr>
          <a:xfrm rot="16200000">
            <a:off x="5499462" y="-5499467"/>
            <a:ext cx="1193078" cy="1219200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4" name="Title 3">
            <a:extLst>
              <a:ext uri="{FF2B5EF4-FFF2-40B4-BE49-F238E27FC236}">
                <a16:creationId xmlns="" xmlns:a16="http://schemas.microsoft.com/office/drawing/2014/main" id="{40F5302F-A8AC-49DE-961E-AA027EF92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1392" y="-114333"/>
            <a:ext cx="9047764" cy="1301194"/>
          </a:xfrm>
        </p:spPr>
        <p:txBody>
          <a:bodyPr>
            <a:normAutofit/>
          </a:bodyPr>
          <a:lstStyle/>
          <a:p>
            <a:r>
              <a:rPr lang="ru-RU" sz="4000" b="1" dirty="0" smtClean="0">
                <a:solidFill>
                  <a:schemeClr val="bg1"/>
                </a:solidFill>
              </a:rPr>
              <a:t>Достижение технического потенциала</a:t>
            </a:r>
            <a:endParaRPr lang="en-GB" sz="4000" b="1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B1E161DC-946A-4876-8D29-B5E6BD24212E}"/>
              </a:ext>
            </a:extLst>
          </p:cNvPr>
          <p:cNvSpPr txBox="1"/>
          <p:nvPr/>
        </p:nvSpPr>
        <p:spPr>
          <a:xfrm>
            <a:off x="8723285" y="4588625"/>
            <a:ext cx="333240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/>
              <a:t>Максимизация климатических выгод (</a:t>
            </a:r>
            <a:r>
              <a:rPr lang="ru-RU" sz="2000" b="1" dirty="0"/>
              <a:t>финансовые </a:t>
            </a:r>
            <a:r>
              <a:rPr lang="ru-RU" sz="2000" b="1" dirty="0" smtClean="0"/>
              <a:t>выгоды</a:t>
            </a:r>
            <a:r>
              <a:rPr lang="ru-RU" sz="2000" dirty="0" smtClean="0"/>
              <a:t>)</a:t>
            </a:r>
            <a:endParaRPr lang="en-US" sz="2400" dirty="0"/>
          </a:p>
          <a:p>
            <a:pPr algn="ctr"/>
            <a:endParaRPr lang="en-US" sz="240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6983" y="1558835"/>
            <a:ext cx="1724292" cy="1584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TextBox 21"/>
          <p:cNvSpPr txBox="1"/>
          <p:nvPr/>
        </p:nvSpPr>
        <p:spPr>
          <a:xfrm>
            <a:off x="2659017" y="1844041"/>
            <a:ext cx="32512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/>
              <a:t>Понимание энергоэффективности и </a:t>
            </a:r>
            <a:r>
              <a:rPr lang="ru-RU" sz="2000" dirty="0" smtClean="0"/>
              <a:t>способов ее повышения</a:t>
            </a:r>
            <a:endParaRPr lang="mk-MK" sz="2000" dirty="0"/>
          </a:p>
        </p:txBody>
      </p:sp>
      <p:sp>
        <p:nvSpPr>
          <p:cNvPr id="27" name="TextBox 26"/>
          <p:cNvSpPr txBox="1"/>
          <p:nvPr/>
        </p:nvSpPr>
        <p:spPr>
          <a:xfrm>
            <a:off x="8737600" y="1808552"/>
            <a:ext cx="314080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/>
              <a:t>Наличие технических </a:t>
            </a:r>
            <a:r>
              <a:rPr lang="ru-RU" sz="2000" dirty="0" smtClean="0"/>
              <a:t>решений</a:t>
            </a:r>
          </a:p>
          <a:p>
            <a:pPr algn="ctr"/>
            <a:r>
              <a:rPr lang="ru-RU" sz="2000" dirty="0" smtClean="0"/>
              <a:t>Уделить внимание</a:t>
            </a:r>
            <a:endParaRPr lang="ru-RU" sz="2000" dirty="0"/>
          </a:p>
          <a:p>
            <a:pPr algn="ctr"/>
            <a:r>
              <a:rPr lang="ru-RU" sz="2000" dirty="0" smtClean="0"/>
              <a:t>проектированию </a:t>
            </a:r>
            <a:r>
              <a:rPr lang="ru-RU" sz="2000" dirty="0"/>
              <a:t>и </a:t>
            </a:r>
            <a:r>
              <a:rPr lang="ru-RU" sz="2000" dirty="0" smtClean="0"/>
              <a:t>подбору </a:t>
            </a:r>
            <a:r>
              <a:rPr lang="ru-RU" sz="2000" dirty="0"/>
              <a:t>оборудования (пригодность)</a:t>
            </a:r>
            <a:endParaRPr lang="mk-MK" sz="2000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4002" y="1782767"/>
            <a:ext cx="2032000" cy="1822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9" name="TextBox 28"/>
          <p:cNvSpPr txBox="1"/>
          <p:nvPr/>
        </p:nvSpPr>
        <p:spPr>
          <a:xfrm>
            <a:off x="3004458" y="3753394"/>
            <a:ext cx="27432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/>
              <a:t>Мониторинг/анализ </a:t>
            </a:r>
            <a:r>
              <a:rPr lang="ru-RU" sz="2000" dirty="0"/>
              <a:t>производительности </a:t>
            </a:r>
            <a:r>
              <a:rPr lang="ru-RU" sz="2000" dirty="0" smtClean="0"/>
              <a:t>во время </a:t>
            </a:r>
            <a:r>
              <a:rPr lang="ru-RU" sz="2000" dirty="0"/>
              <a:t>эксплуатации</a:t>
            </a:r>
            <a:endParaRPr lang="mk-MK" sz="2000" dirty="0"/>
          </a:p>
        </p:txBody>
      </p:sp>
      <p:pic>
        <p:nvPicPr>
          <p:cNvPr id="4100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1818" y="3526971"/>
            <a:ext cx="1781908" cy="1367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2519" y="5355771"/>
            <a:ext cx="2762956" cy="96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" name="Picture 2" descr="Image result for financial considerations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8880" y="4423955"/>
            <a:ext cx="2419243" cy="1254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463296" y="6345990"/>
            <a:ext cx="7132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овышение компетенций – регулярно и получать актуальные знания</a:t>
            </a:r>
            <a:endParaRPr lang="mk-MK" dirty="0"/>
          </a:p>
        </p:txBody>
      </p:sp>
    </p:spTree>
    <p:extLst>
      <p:ext uri="{BB962C8B-B14F-4D97-AF65-F5344CB8AC3E}">
        <p14:creationId xmlns:p14="http://schemas.microsoft.com/office/powerpoint/2010/main" val="1758540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-62755"/>
            <a:ext cx="12191999" cy="6857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3" name="Rectangle 12"/>
          <p:cNvSpPr/>
          <p:nvPr/>
        </p:nvSpPr>
        <p:spPr>
          <a:xfrm rot="16200000">
            <a:off x="5414681" y="-5414687"/>
            <a:ext cx="1362639" cy="1219200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4" name="Title 3">
            <a:extLst>
              <a:ext uri="{FF2B5EF4-FFF2-40B4-BE49-F238E27FC236}">
                <a16:creationId xmlns="" xmlns:a16="http://schemas.microsoft.com/office/drawing/2014/main" id="{40F5302F-A8AC-49DE-961E-AA027EF92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9821" y="99222"/>
            <a:ext cx="7993690" cy="1174804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>
                <a:solidFill>
                  <a:schemeClr val="bg1"/>
                </a:solidFill>
              </a:rPr>
              <a:t>Снижение потребления энергии </a:t>
            </a:r>
            <a:br>
              <a:rPr lang="ru-RU" sz="3600" b="1" dirty="0" smtClean="0">
                <a:solidFill>
                  <a:schemeClr val="bg1"/>
                </a:solidFill>
              </a:rPr>
            </a:br>
            <a:r>
              <a:rPr lang="ru-RU" sz="3600" b="1" dirty="0" smtClean="0">
                <a:solidFill>
                  <a:schemeClr val="bg1"/>
                </a:solidFill>
              </a:rPr>
              <a:t>оборудованиями ХОКВТН</a:t>
            </a:r>
            <a:endParaRPr lang="en-GB" sz="3600" b="1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B1E161DC-946A-4876-8D29-B5E6BD24212E}"/>
              </a:ext>
            </a:extLst>
          </p:cNvPr>
          <p:cNvSpPr txBox="1"/>
          <p:nvPr/>
        </p:nvSpPr>
        <p:spPr>
          <a:xfrm>
            <a:off x="9334695" y="2174954"/>
            <a:ext cx="29355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/>
              <a:t>Обучение и наращивание потенциала</a:t>
            </a:r>
            <a:endParaRPr lang="en-US" sz="2000" dirty="0"/>
          </a:p>
        </p:txBody>
      </p:sp>
      <p:sp>
        <p:nvSpPr>
          <p:cNvPr id="22" name="TextBox 21"/>
          <p:cNvSpPr txBox="1"/>
          <p:nvPr/>
        </p:nvSpPr>
        <p:spPr>
          <a:xfrm>
            <a:off x="3162086" y="1887354"/>
            <a:ext cx="34261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/>
              <a:t>Улучшение холодильного цикла </a:t>
            </a:r>
            <a:r>
              <a:rPr lang="en-US" sz="2000" dirty="0" smtClean="0"/>
              <a:t>(</a:t>
            </a:r>
            <a:r>
              <a:rPr lang="ru-RU" sz="2000" b="1" i="1" dirty="0" smtClean="0"/>
              <a:t>оптимизация системы</a:t>
            </a:r>
            <a:r>
              <a:rPr lang="en-US" sz="2000" dirty="0" smtClean="0"/>
              <a:t>)</a:t>
            </a:r>
            <a:endParaRPr lang="mk-MK" sz="2000" dirty="0"/>
          </a:p>
        </p:txBody>
      </p:sp>
      <p:sp>
        <p:nvSpPr>
          <p:cNvPr id="29" name="TextBox 28"/>
          <p:cNvSpPr txBox="1"/>
          <p:nvPr/>
        </p:nvSpPr>
        <p:spPr>
          <a:xfrm>
            <a:off x="3361330" y="4248609"/>
            <a:ext cx="2743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/>
              <a:t>Обслуживание системы</a:t>
            </a:r>
            <a:endParaRPr lang="mk-MK" sz="2000" dirty="0"/>
          </a:p>
        </p:txBody>
      </p:sp>
      <p:pic>
        <p:nvPicPr>
          <p:cNvPr id="74758" name="Picture 6" descr="Image result for refrigeration system optimizatio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0947" y="1531776"/>
            <a:ext cx="2517735" cy="1928373"/>
          </a:xfrm>
          <a:prstGeom prst="rect">
            <a:avLst/>
          </a:prstGeom>
          <a:noFill/>
        </p:spPr>
      </p:pic>
      <p:pic>
        <p:nvPicPr>
          <p:cNvPr id="74760" name="Picture 8" descr="Related imag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7096" y="3630707"/>
            <a:ext cx="2501586" cy="1783972"/>
          </a:xfrm>
          <a:prstGeom prst="rect">
            <a:avLst/>
          </a:prstGeom>
          <a:noFill/>
        </p:spPr>
      </p:pic>
      <p:pic>
        <p:nvPicPr>
          <p:cNvPr id="74761" name="Picture 9" descr="W:\OZONE_December 2017\OZONE\HPMP\Workshops\2018\March workshop for service technicians_ za dobri servisni praktiki\Photos\March 28-Day 1\IMG_20180328_13161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1563" y="1649505"/>
            <a:ext cx="2651378" cy="1864659"/>
          </a:xfrm>
          <a:prstGeom prst="rect">
            <a:avLst/>
          </a:prstGeom>
          <a:noFill/>
        </p:spPr>
      </p:pic>
      <p:pic>
        <p:nvPicPr>
          <p:cNvPr id="74763" name="Picture 11" descr="Image result for behaviour chang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777318" y="3980316"/>
            <a:ext cx="2680447" cy="1315330"/>
          </a:xfrm>
          <a:prstGeom prst="rect">
            <a:avLst/>
          </a:prstGeom>
          <a:noFill/>
        </p:spPr>
      </p:pic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B1E161DC-946A-4876-8D29-B5E6BD24212E}"/>
              </a:ext>
            </a:extLst>
          </p:cNvPr>
          <p:cNvSpPr txBox="1"/>
          <p:nvPr/>
        </p:nvSpPr>
        <p:spPr>
          <a:xfrm>
            <a:off x="9930979" y="4265473"/>
            <a:ext cx="20727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rgbClr val="FF0000"/>
                </a:solidFill>
              </a:rPr>
              <a:t>Изменение в поведении!!!</a:t>
            </a:r>
            <a:endParaRPr lang="en-US" sz="2000" dirty="0">
              <a:solidFill>
                <a:srgbClr val="FF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710121" y="5595832"/>
            <a:ext cx="650559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Энергоэффективность</a:t>
            </a:r>
            <a:r>
              <a:rPr lang="en-US" dirty="0" smtClean="0"/>
              <a:t>– </a:t>
            </a:r>
            <a:r>
              <a:rPr lang="ru-RU" b="1" u="sng" dirty="0" smtClean="0"/>
              <a:t>эффективное использование энергии </a:t>
            </a:r>
            <a:r>
              <a:rPr lang="ru-RU" dirty="0"/>
              <a:t>также зависит от компоновки оборудования и </a:t>
            </a:r>
            <a:r>
              <a:rPr lang="ru-RU" dirty="0" smtClean="0"/>
              <a:t>настройки при </a:t>
            </a:r>
            <a:r>
              <a:rPr lang="ru-RU" dirty="0"/>
              <a:t>вводе в эксплуатацию </a:t>
            </a:r>
            <a:r>
              <a:rPr lang="ru-RU" dirty="0" smtClean="0"/>
              <a:t>инженером</a:t>
            </a:r>
            <a:endParaRPr lang="ru-RU" dirty="0"/>
          </a:p>
          <a:p>
            <a:pPr algn="ctr"/>
            <a:r>
              <a:rPr lang="ru-RU" dirty="0"/>
              <a:t>(зависит от множества различных индивидуальных параметров)</a:t>
            </a:r>
            <a:endParaRPr lang="mk-MK" dirty="0"/>
          </a:p>
        </p:txBody>
      </p:sp>
    </p:spTree>
    <p:extLst>
      <p:ext uri="{BB962C8B-B14F-4D97-AF65-F5344CB8AC3E}">
        <p14:creationId xmlns:p14="http://schemas.microsoft.com/office/powerpoint/2010/main" val="1758540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4460034" cy="685799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" name="Title 3">
            <a:extLst>
              <a:ext uri="{FF2B5EF4-FFF2-40B4-BE49-F238E27FC236}">
                <a16:creationId xmlns="" xmlns:a16="http://schemas.microsoft.com/office/drawing/2014/main" id="{40F5302F-A8AC-49DE-961E-AA027EF92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412" y="2385322"/>
            <a:ext cx="4653684" cy="2688176"/>
          </a:xfrm>
        </p:spPr>
        <p:txBody>
          <a:bodyPr>
            <a:normAutofit/>
          </a:bodyPr>
          <a:lstStyle/>
          <a:p>
            <a:pPr algn="ctr"/>
            <a:r>
              <a:rPr lang="ru-RU" sz="4000" b="1" dirty="0" smtClean="0"/>
              <a:t>Эффективное охлаждение</a:t>
            </a:r>
            <a:endParaRPr lang="en-GB" sz="40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4460034" y="363073"/>
            <a:ext cx="7455530" cy="6278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Tx/>
              <a:buChar char="-"/>
            </a:pPr>
            <a:endParaRPr lang="en-US" dirty="0" smtClean="0"/>
          </a:p>
          <a:p>
            <a:pPr algn="ctr"/>
            <a:r>
              <a:rPr lang="ru-RU" sz="2400" b="1" u="sng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Междисциплинарность</a:t>
            </a:r>
            <a:r>
              <a:rPr lang="en-US" sz="2400" b="1" u="sng" dirty="0" smtClean="0">
                <a:solidFill>
                  <a:srgbClr val="000000"/>
                </a:solidFill>
                <a:latin typeface="Calibri" panose="020F0502020204030204" pitchFamily="34" charset="0"/>
              </a:rPr>
              <a:t>!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en-US" sz="2400" b="1" u="sng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Хладагент</a:t>
            </a:r>
            <a:endParaRPr lang="en-US" sz="24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Энергоэффективность</a:t>
            </a:r>
            <a:endParaRPr lang="en-US" sz="24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Тарифы на электричество</a:t>
            </a:r>
            <a:endParaRPr lang="en-US" sz="24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Обслуживание системы</a:t>
            </a:r>
            <a:endParaRPr lang="en-US" sz="24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Получение первичных материалов</a:t>
            </a:r>
            <a:endParaRPr lang="en-US" sz="24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Повторное использование и утилизация</a:t>
            </a:r>
            <a:endParaRPr lang="en-US" sz="24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Здание и недвижимость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; </a:t>
            </a:r>
            <a:r>
              <a:rPr lang="ru-RU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архитектура и градостроительство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ru-RU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– различные взгляды агентств и интересы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Охлаждение связано с многими Целями устойчивого развития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, </a:t>
            </a:r>
            <a:r>
              <a:rPr lang="ru-RU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с работой Монреальского протокола по замене ОРВ и ГФУ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, </a:t>
            </a:r>
            <a:r>
              <a:rPr lang="ru-RU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и значительно влияет на прогнозируемое потребление электроэнергии в развивающихся странах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. </a:t>
            </a:r>
            <a:endParaRPr lang="en-US" sz="2400" dirty="0"/>
          </a:p>
        </p:txBody>
      </p:sp>
      <p:sp>
        <p:nvSpPr>
          <p:cNvPr id="7" name="Rectangle 6"/>
          <p:cNvSpPr/>
          <p:nvPr/>
        </p:nvSpPr>
        <p:spPr>
          <a:xfrm>
            <a:off x="996837" y="1769983"/>
            <a:ext cx="1090612" cy="9842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58540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967566" y="0"/>
            <a:ext cx="8224434" cy="6857995"/>
          </a:xfrm>
          <a:prstGeom prst="rect">
            <a:avLst/>
          </a:prstGeom>
          <a:solidFill>
            <a:srgbClr val="B6D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3967565" cy="6857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81" y="1375816"/>
            <a:ext cx="4005943" cy="3292475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/>
              <a:t>Вопросы для рассмотрения </a:t>
            </a:r>
            <a:r>
              <a:rPr lang="en-US" sz="3600" b="1" dirty="0" smtClean="0"/>
              <a:t>…</a:t>
            </a:r>
            <a:endParaRPr lang="mk-MK" sz="36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27863" y="896983"/>
            <a:ext cx="7807123" cy="5329646"/>
          </a:xfrm>
        </p:spPr>
        <p:txBody>
          <a:bodyPr>
            <a:normAutofit fontScale="92500" lnSpcReduction="20000"/>
          </a:bodyPr>
          <a:lstStyle/>
          <a:p>
            <a:pPr>
              <a:buNone/>
            </a:pPr>
            <a:r>
              <a:rPr lang="ru-RU" dirty="0"/>
              <a:t>Использование </a:t>
            </a:r>
            <a:r>
              <a:rPr lang="ru-RU" b="1" dirty="0"/>
              <a:t>структурированного подхода </a:t>
            </a:r>
            <a:r>
              <a:rPr lang="ru-RU" dirty="0" smtClean="0"/>
              <a:t>поможет </a:t>
            </a:r>
            <a:r>
              <a:rPr lang="ru-RU" dirty="0"/>
              <a:t>максимально увеличить потенциал повышения эффективности </a:t>
            </a:r>
            <a:r>
              <a:rPr lang="ru-RU" dirty="0" smtClean="0"/>
              <a:t>ХОКВТН!</a:t>
            </a:r>
          </a:p>
          <a:p>
            <a:pPr>
              <a:buNone/>
            </a:pPr>
            <a:endParaRPr lang="en-GB" dirty="0" smtClean="0"/>
          </a:p>
          <a:p>
            <a:pPr>
              <a:buNone/>
            </a:pPr>
            <a:r>
              <a:rPr lang="ru-RU" u="sng" dirty="0"/>
              <a:t>Факторы, способные повысить эффективность </a:t>
            </a:r>
            <a:r>
              <a:rPr lang="en-GB" dirty="0" smtClean="0"/>
              <a:t>: </a:t>
            </a:r>
          </a:p>
          <a:p>
            <a:pPr marL="709200" lvl="1" indent="-457200">
              <a:buNone/>
            </a:pPr>
            <a:r>
              <a:rPr lang="en-US" dirty="0" smtClean="0"/>
              <a:t>→ </a:t>
            </a:r>
            <a:r>
              <a:rPr lang="ru-RU" dirty="0" smtClean="0"/>
              <a:t>Выбор хладагентов и компонентов</a:t>
            </a:r>
            <a:endParaRPr lang="en-US" dirty="0" smtClean="0"/>
          </a:p>
          <a:p>
            <a:pPr marL="709200" lvl="1" indent="-457200">
              <a:buNone/>
            </a:pPr>
            <a:r>
              <a:rPr lang="en-US" dirty="0" smtClean="0"/>
              <a:t>     (</a:t>
            </a:r>
            <a:r>
              <a:rPr lang="ru-RU" dirty="0" smtClean="0"/>
              <a:t>пр.</a:t>
            </a:r>
            <a:r>
              <a:rPr lang="en-US" dirty="0" smtClean="0"/>
              <a:t>: </a:t>
            </a:r>
            <a:r>
              <a:rPr lang="en-US" i="1" dirty="0" smtClean="0"/>
              <a:t>R744, R717, HCs-R290, R600a, </a:t>
            </a:r>
            <a:r>
              <a:rPr lang="ru-RU" i="1" dirty="0" smtClean="0"/>
              <a:t>низкий ПГП </a:t>
            </a:r>
            <a:r>
              <a:rPr lang="en-US" i="1" dirty="0" smtClean="0"/>
              <a:t>(</a:t>
            </a:r>
            <a:r>
              <a:rPr lang="ru-RU" i="1" dirty="0" smtClean="0"/>
              <a:t>ГФУ</a:t>
            </a:r>
            <a:r>
              <a:rPr lang="en-US" i="1" dirty="0" smtClean="0"/>
              <a:t>) </a:t>
            </a:r>
            <a:r>
              <a:rPr lang="ru-RU" dirty="0" smtClean="0"/>
              <a:t>и некоторые нетипичные технологии, как солнечные установки и центральное холодоснабжение)</a:t>
            </a:r>
            <a:r>
              <a:rPr lang="en-US" i="1" dirty="0" smtClean="0"/>
              <a:t> </a:t>
            </a:r>
          </a:p>
          <a:p>
            <a:pPr marL="709200" lvl="1" indent="-457200">
              <a:buNone/>
            </a:pPr>
            <a:r>
              <a:rPr lang="en-US" dirty="0" smtClean="0"/>
              <a:t>→ </a:t>
            </a:r>
            <a:r>
              <a:rPr lang="ru-RU" dirty="0"/>
              <a:t>Выбор наиболее эффективного холодильного </a:t>
            </a:r>
            <a:r>
              <a:rPr lang="ru-RU" dirty="0" smtClean="0"/>
              <a:t>цикла</a:t>
            </a:r>
          </a:p>
          <a:p>
            <a:pPr marL="709200" lvl="1" indent="-457200">
              <a:buNone/>
            </a:pPr>
            <a:r>
              <a:rPr lang="en-US" dirty="0" smtClean="0"/>
              <a:t>→ </a:t>
            </a:r>
            <a:r>
              <a:rPr lang="ru-RU" dirty="0" smtClean="0"/>
              <a:t>Учитывать условия </a:t>
            </a:r>
            <a:r>
              <a:rPr lang="ru-RU" dirty="0"/>
              <a:t>эксплуатации (избегать потерь энергии</a:t>
            </a:r>
            <a:r>
              <a:rPr lang="ru-RU" dirty="0" smtClean="0"/>
              <a:t>)</a:t>
            </a:r>
          </a:p>
          <a:p>
            <a:pPr marL="709200" lvl="1" indent="-457200">
              <a:buNone/>
            </a:pPr>
            <a:r>
              <a:rPr lang="en-US" dirty="0" smtClean="0"/>
              <a:t>→ </a:t>
            </a:r>
            <a:r>
              <a:rPr lang="ru-RU" dirty="0"/>
              <a:t>Минимизация </a:t>
            </a:r>
            <a:r>
              <a:rPr lang="ru-RU" dirty="0" smtClean="0"/>
              <a:t>нагрузки охлаждения</a:t>
            </a:r>
          </a:p>
          <a:p>
            <a:pPr marL="709200" lvl="1" indent="-457200">
              <a:buNone/>
            </a:pPr>
            <a:r>
              <a:rPr lang="en-US" dirty="0" smtClean="0"/>
              <a:t>→ </a:t>
            </a:r>
            <a:r>
              <a:rPr lang="ru-RU" dirty="0" smtClean="0"/>
              <a:t>Разработка эффективной системы контроля</a:t>
            </a:r>
            <a:endParaRPr lang="en-US" dirty="0" smtClean="0"/>
          </a:p>
          <a:p>
            <a:pPr marL="709200" lvl="1" indent="-457200">
              <a:buNone/>
            </a:pPr>
            <a:r>
              <a:rPr lang="en-US" dirty="0" smtClean="0"/>
              <a:t>→ </a:t>
            </a:r>
            <a:r>
              <a:rPr lang="ru-RU" dirty="0"/>
              <a:t>Проверка эксплуатационных </a:t>
            </a:r>
            <a:r>
              <a:rPr lang="ru-RU" dirty="0" smtClean="0"/>
              <a:t>характеристик/надлежащее обслуживание</a:t>
            </a:r>
          </a:p>
          <a:p>
            <a:pPr marL="709200" lvl="1" indent="-457200">
              <a:buNone/>
            </a:pPr>
            <a:r>
              <a:rPr lang="en-US" dirty="0" smtClean="0"/>
              <a:t>→ </a:t>
            </a:r>
            <a:r>
              <a:rPr lang="ru-RU" dirty="0" smtClean="0"/>
              <a:t>Регулярная проверка </a:t>
            </a:r>
            <a:r>
              <a:rPr lang="en-US" dirty="0" smtClean="0"/>
              <a:t>(</a:t>
            </a:r>
            <a:r>
              <a:rPr lang="ru-RU" dirty="0" smtClean="0"/>
              <a:t>для предотвращения утечек хладагента</a:t>
            </a:r>
            <a:r>
              <a:rPr lang="en-US" dirty="0" smtClean="0"/>
              <a:t>)   </a:t>
            </a:r>
          </a:p>
          <a:p>
            <a:pPr marL="709200" lvl="1" indent="-457200">
              <a:buNone/>
            </a:pPr>
            <a:endParaRPr lang="en-US" dirty="0" smtClean="0"/>
          </a:p>
          <a:p>
            <a:pPr marL="709200" lvl="1" indent="-457200">
              <a:buNone/>
            </a:pPr>
            <a:endParaRPr lang="en-GB" dirty="0" smtClean="0"/>
          </a:p>
          <a:p>
            <a:endParaRPr lang="en-GB" dirty="0" smtClean="0"/>
          </a:p>
          <a:p>
            <a:pPr>
              <a:buNone/>
            </a:pPr>
            <a:endParaRPr lang="mk-MK" dirty="0"/>
          </a:p>
        </p:txBody>
      </p:sp>
      <p:sp>
        <p:nvSpPr>
          <p:cNvPr id="6" name="Rectangle 5"/>
          <p:cNvSpPr/>
          <p:nvPr/>
        </p:nvSpPr>
        <p:spPr>
          <a:xfrm>
            <a:off x="711309" y="1669296"/>
            <a:ext cx="1090612" cy="9842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204447" y="0"/>
            <a:ext cx="7987553" cy="6858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>
                <a:solidFill>
                  <a:schemeClr val="accent6">
                    <a:lumMod val="50000"/>
                  </a:schemeClr>
                </a:solidFill>
              </a:rPr>
              <a:t>Р</a:t>
            </a:r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ешение </a:t>
            </a:r>
            <a:r>
              <a:rPr lang="en-US" sz="2400" b="1" dirty="0" smtClean="0">
                <a:solidFill>
                  <a:schemeClr val="accent6">
                    <a:lumMod val="50000"/>
                  </a:schemeClr>
                </a:solidFill>
              </a:rPr>
              <a:t>XXVIII/3</a:t>
            </a:r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 28</a:t>
            </a:r>
            <a:r>
              <a:rPr lang="en-US" sz="2400" b="1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Встреча Сторон Монреальского протокола </a:t>
            </a:r>
            <a:endParaRPr lang="en-US" sz="24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endParaRPr lang="en-US" sz="24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ctr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ru-RU" sz="2400" i="1" dirty="0">
                <a:solidFill>
                  <a:schemeClr val="accent6">
                    <a:lumMod val="50000"/>
                  </a:schemeClr>
                </a:solidFill>
              </a:rPr>
              <a:t>Возможности для стимулирования и обеспечения улучшений </a:t>
            </a:r>
            <a:r>
              <a:rPr lang="ru-RU" sz="2400" i="1" dirty="0" smtClean="0">
                <a:solidFill>
                  <a:schemeClr val="accent6">
                    <a:lumMod val="50000"/>
                  </a:schemeClr>
                </a:solidFill>
              </a:rPr>
              <a:t>энергоэффективности установок и оборудования</a:t>
            </a:r>
          </a:p>
          <a:p>
            <a:pPr indent="-285750" algn="ctr" fontAlgn="t">
              <a:buFont typeface="Arial" pitchFamily="34" charset="0"/>
              <a:buChar char="•"/>
            </a:pPr>
            <a:r>
              <a:rPr lang="ru-RU" sz="2400" i="1" dirty="0" smtClean="0">
                <a:solidFill>
                  <a:schemeClr val="accent6">
                    <a:lumMod val="50000"/>
                  </a:schemeClr>
                </a:solidFill>
              </a:rPr>
              <a:t>Отмечено</a:t>
            </a:r>
            <a:r>
              <a:rPr lang="ru-RU" sz="2400" i="1" dirty="0">
                <a:solidFill>
                  <a:schemeClr val="accent6">
                    <a:lumMod val="50000"/>
                  </a:schemeClr>
                </a:solidFill>
              </a:rPr>
              <a:t>, </a:t>
            </a:r>
            <a:r>
              <a:rPr lang="ru-RU" sz="2400" i="1" dirty="0">
                <a:solidFill>
                  <a:srgbClr val="FF0000"/>
                </a:solidFill>
              </a:rPr>
              <a:t>что сектор холодильного оборудования и кондиционеров </a:t>
            </a:r>
            <a:r>
              <a:rPr lang="ru-RU" sz="2400" i="1" dirty="0" smtClean="0">
                <a:solidFill>
                  <a:srgbClr val="FF0000"/>
                </a:solidFill>
              </a:rPr>
              <a:t>занимает </a:t>
            </a:r>
            <a:r>
              <a:rPr lang="ru-RU" sz="2400" i="1" dirty="0">
                <a:solidFill>
                  <a:srgbClr val="FF0000"/>
                </a:solidFill>
              </a:rPr>
              <a:t>значительную и </a:t>
            </a:r>
            <a:r>
              <a:rPr lang="ru-RU" sz="2400" i="1" u="sng" dirty="0">
                <a:solidFill>
                  <a:srgbClr val="FF0000"/>
                </a:solidFill>
              </a:rPr>
              <a:t>растущую долю мирового спроса на </a:t>
            </a:r>
            <a:r>
              <a:rPr lang="ru-RU" sz="2400" i="1" u="sng" dirty="0" smtClean="0">
                <a:solidFill>
                  <a:srgbClr val="FF0000"/>
                </a:solidFill>
              </a:rPr>
              <a:t>электроэнергию</a:t>
            </a:r>
          </a:p>
          <a:p>
            <a:pPr indent="-285750" algn="ctr" fontAlgn="t">
              <a:buFont typeface="Arial" pitchFamily="34" charset="0"/>
              <a:buChar char="•"/>
            </a:pPr>
            <a:r>
              <a:rPr lang="ru-RU" sz="2400" i="1" dirty="0" smtClean="0">
                <a:solidFill>
                  <a:schemeClr val="accent6">
                    <a:lumMod val="50000"/>
                  </a:schemeClr>
                </a:solidFill>
              </a:rPr>
              <a:t>Ценен тот </a:t>
            </a:r>
            <a:r>
              <a:rPr lang="ru-RU" sz="2400" i="1" dirty="0">
                <a:solidFill>
                  <a:schemeClr val="accent6">
                    <a:lumMod val="50000"/>
                  </a:schemeClr>
                </a:solidFill>
              </a:rPr>
              <a:t>факт, что </a:t>
            </a:r>
            <a:r>
              <a:rPr lang="ru-RU" sz="2400" i="1" dirty="0">
                <a:solidFill>
                  <a:srgbClr val="FF0000"/>
                </a:solidFill>
              </a:rPr>
              <a:t>повышение энергоэффективности может обеспечить целый ряд сопутствующих </a:t>
            </a:r>
            <a:r>
              <a:rPr lang="ru-RU" sz="2400" i="1" u="sng" dirty="0" smtClean="0">
                <a:solidFill>
                  <a:srgbClr val="FF0000"/>
                </a:solidFill>
              </a:rPr>
              <a:t>преимуществ для </a:t>
            </a:r>
            <a:r>
              <a:rPr lang="ru-RU" sz="2400" i="1" u="sng" dirty="0">
                <a:solidFill>
                  <a:srgbClr val="FF0000"/>
                </a:solidFill>
              </a:rPr>
              <a:t>устойчивого развития</a:t>
            </a:r>
            <a:r>
              <a:rPr lang="ru-RU" sz="2400" i="1" dirty="0">
                <a:solidFill>
                  <a:srgbClr val="FF0000"/>
                </a:solidFill>
              </a:rPr>
              <a:t>, </a:t>
            </a:r>
            <a:r>
              <a:rPr lang="ru-RU" sz="2400" i="1" dirty="0">
                <a:solidFill>
                  <a:schemeClr val="accent6">
                    <a:lumMod val="50000"/>
                  </a:schemeClr>
                </a:solidFill>
              </a:rPr>
              <a:t>в том числе для обеспечения энергетической безопасности, общественного здравоохранения и </a:t>
            </a:r>
            <a:r>
              <a:rPr lang="ru-RU" sz="2400" i="1" dirty="0">
                <a:solidFill>
                  <a:srgbClr val="FF0000"/>
                </a:solidFill>
              </a:rPr>
              <a:t>смягчения последствий изменения климата</a:t>
            </a:r>
            <a:r>
              <a:rPr lang="ru-RU" sz="2400" i="1" dirty="0">
                <a:solidFill>
                  <a:schemeClr val="accent6">
                    <a:lumMod val="50000"/>
                  </a:schemeClr>
                </a:solidFill>
              </a:rPr>
              <a:t>; и </a:t>
            </a:r>
            <a:r>
              <a:rPr lang="ru-RU" sz="2400" i="1" dirty="0" smtClean="0">
                <a:solidFill>
                  <a:schemeClr val="accent6">
                    <a:lumMod val="50000"/>
                  </a:schemeClr>
                </a:solidFill>
              </a:rPr>
              <a:t>отмечена </a:t>
            </a:r>
            <a:r>
              <a:rPr lang="ru-RU" sz="2400" i="1" dirty="0" smtClean="0">
                <a:solidFill>
                  <a:srgbClr val="FF0000"/>
                </a:solidFill>
              </a:rPr>
              <a:t>большая отдача </a:t>
            </a:r>
            <a:r>
              <a:rPr lang="ru-RU" sz="2400" i="1" dirty="0">
                <a:solidFill>
                  <a:srgbClr val="FF0000"/>
                </a:solidFill>
              </a:rPr>
              <a:t>от </a:t>
            </a:r>
            <a:r>
              <a:rPr lang="ru-RU" sz="2400" i="1" dirty="0" smtClean="0">
                <a:solidFill>
                  <a:srgbClr val="FF0000"/>
                </a:solidFill>
              </a:rPr>
              <a:t>инвестиций при скромными расходах </a:t>
            </a:r>
            <a:r>
              <a:rPr lang="ru-RU" sz="2400" i="1" dirty="0">
                <a:solidFill>
                  <a:srgbClr val="FF0000"/>
                </a:solidFill>
              </a:rPr>
              <a:t>на </a:t>
            </a:r>
            <a:r>
              <a:rPr lang="ru-RU" sz="2400" i="1" dirty="0" smtClean="0">
                <a:solidFill>
                  <a:srgbClr val="FF0000"/>
                </a:solidFill>
              </a:rPr>
              <a:t>повышение энергоэффективности</a:t>
            </a:r>
            <a:endParaRPr lang="ru-RU" sz="2400" i="1" dirty="0">
              <a:solidFill>
                <a:srgbClr val="FF0000"/>
              </a:solidFill>
            </a:endParaRPr>
          </a:p>
          <a:p>
            <a:pPr algn="ctr">
              <a:buFont typeface="Arial" pitchFamily="34" charset="0"/>
              <a:buChar char="•"/>
            </a:pPr>
            <a:endParaRPr lang="id-ID" sz="2400" i="1" dirty="0">
              <a:solidFill>
                <a:schemeClr val="accent6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58022" y="5140190"/>
            <a:ext cx="18473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mk-MK" sz="5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rot="16200000">
            <a:off x="-1299754" y="1299750"/>
            <a:ext cx="6858001" cy="425849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dirty="0"/>
          </a:p>
        </p:txBody>
      </p:sp>
      <p:sp>
        <p:nvSpPr>
          <p:cNvPr id="8" name="TextBox 7"/>
          <p:cNvSpPr txBox="1"/>
          <p:nvPr/>
        </p:nvSpPr>
        <p:spPr>
          <a:xfrm>
            <a:off x="106547" y="2462104"/>
            <a:ext cx="4097900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 err="1" smtClean="0">
                <a:solidFill>
                  <a:schemeClr val="bg1"/>
                </a:solidFill>
              </a:rPr>
              <a:t>Энерго</a:t>
            </a:r>
            <a:r>
              <a:rPr lang="ru-RU" sz="4400" b="1" dirty="0" smtClean="0">
                <a:solidFill>
                  <a:schemeClr val="bg1"/>
                </a:solidFill>
              </a:rPr>
              <a:t>-</a:t>
            </a:r>
            <a:endParaRPr lang="en-US" sz="4400" b="1" dirty="0" smtClean="0">
              <a:solidFill>
                <a:schemeClr val="bg1"/>
              </a:solidFill>
            </a:endParaRPr>
          </a:p>
          <a:p>
            <a:r>
              <a:rPr lang="ru-RU" sz="4400" b="1" dirty="0" smtClean="0">
                <a:solidFill>
                  <a:schemeClr val="bg1"/>
                </a:solidFill>
              </a:rPr>
              <a:t>эффективность</a:t>
            </a:r>
            <a:endParaRPr lang="en-US" sz="4400" b="1" dirty="0" smtClean="0">
              <a:solidFill>
                <a:schemeClr val="bg1"/>
              </a:solidFill>
            </a:endParaRPr>
          </a:p>
          <a:p>
            <a:endParaRPr lang="en-US" sz="54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5400" b="1" dirty="0" smtClean="0">
                <a:solidFill>
                  <a:schemeClr val="accent6">
                    <a:lumMod val="75000"/>
                  </a:schemeClr>
                </a:solidFill>
              </a:rPr>
              <a:t>                    </a:t>
            </a:r>
            <a:endParaRPr lang="mk-MK" sz="5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59986" y="2462104"/>
            <a:ext cx="1090612" cy="98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9485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12192000" cy="6857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5" name="Rectangle 14"/>
          <p:cNvSpPr/>
          <p:nvPr/>
        </p:nvSpPr>
        <p:spPr>
          <a:xfrm rot="16200000">
            <a:off x="5567238" y="-5567238"/>
            <a:ext cx="1057527" cy="1219200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graphicFrame>
        <p:nvGraphicFramePr>
          <p:cNvPr id="371718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3"/>
          <p:cNvGrpSpPr/>
          <p:nvPr/>
        </p:nvGrpSpPr>
        <p:grpSpPr>
          <a:xfrm>
            <a:off x="2881740" y="938784"/>
            <a:ext cx="7322963" cy="6293290"/>
            <a:chOff x="2111099" y="2331960"/>
            <a:chExt cx="5283351" cy="4559028"/>
          </a:xfrm>
        </p:grpSpPr>
        <p:sp>
          <p:nvSpPr>
            <p:cNvPr id="53" name="Rounded Rectangle 23"/>
            <p:cNvSpPr/>
            <p:nvPr/>
          </p:nvSpPr>
          <p:spPr>
            <a:xfrm>
              <a:off x="4575175" y="3916591"/>
              <a:ext cx="2819275" cy="2428647"/>
            </a:xfrm>
            <a:custGeom>
              <a:avLst/>
              <a:gdLst>
                <a:gd name="connsiteX0" fmla="*/ 0 w 2487168"/>
                <a:gd name="connsiteY0" fmla="*/ 632765 h 1265530"/>
                <a:gd name="connsiteX1" fmla="*/ 632765 w 2487168"/>
                <a:gd name="connsiteY1" fmla="*/ 0 h 1265530"/>
                <a:gd name="connsiteX2" fmla="*/ 1854403 w 2487168"/>
                <a:gd name="connsiteY2" fmla="*/ 0 h 1265530"/>
                <a:gd name="connsiteX3" fmla="*/ 2487168 w 2487168"/>
                <a:gd name="connsiteY3" fmla="*/ 632765 h 1265530"/>
                <a:gd name="connsiteX4" fmla="*/ 2487168 w 2487168"/>
                <a:gd name="connsiteY4" fmla="*/ 632765 h 1265530"/>
                <a:gd name="connsiteX5" fmla="*/ 1854403 w 2487168"/>
                <a:gd name="connsiteY5" fmla="*/ 1265530 h 1265530"/>
                <a:gd name="connsiteX6" fmla="*/ 632765 w 2487168"/>
                <a:gd name="connsiteY6" fmla="*/ 1265530 h 1265530"/>
                <a:gd name="connsiteX7" fmla="*/ 0 w 2487168"/>
                <a:gd name="connsiteY7" fmla="*/ 632765 h 1265530"/>
                <a:gd name="connsiteX0" fmla="*/ 10095 w 2497263"/>
                <a:gd name="connsiteY0" fmla="*/ 632765 h 1265530"/>
                <a:gd name="connsiteX1" fmla="*/ 642860 w 2497263"/>
                <a:gd name="connsiteY1" fmla="*/ 0 h 1265530"/>
                <a:gd name="connsiteX2" fmla="*/ 1864498 w 2497263"/>
                <a:gd name="connsiteY2" fmla="*/ 0 h 1265530"/>
                <a:gd name="connsiteX3" fmla="*/ 2497263 w 2497263"/>
                <a:gd name="connsiteY3" fmla="*/ 632765 h 1265530"/>
                <a:gd name="connsiteX4" fmla="*/ 2497263 w 2497263"/>
                <a:gd name="connsiteY4" fmla="*/ 632765 h 1265530"/>
                <a:gd name="connsiteX5" fmla="*/ 1864498 w 2497263"/>
                <a:gd name="connsiteY5" fmla="*/ 1265530 h 1265530"/>
                <a:gd name="connsiteX6" fmla="*/ 642860 w 2497263"/>
                <a:gd name="connsiteY6" fmla="*/ 1265530 h 1265530"/>
                <a:gd name="connsiteX7" fmla="*/ 280757 w 2497263"/>
                <a:gd name="connsiteY7" fmla="*/ 1163117 h 1265530"/>
                <a:gd name="connsiteX8" fmla="*/ 10095 w 2497263"/>
                <a:gd name="connsiteY8" fmla="*/ 632765 h 1265530"/>
                <a:gd name="connsiteX0" fmla="*/ 34828 w 2521996"/>
                <a:gd name="connsiteY0" fmla="*/ 632765 h 2216530"/>
                <a:gd name="connsiteX1" fmla="*/ 667593 w 2521996"/>
                <a:gd name="connsiteY1" fmla="*/ 0 h 2216530"/>
                <a:gd name="connsiteX2" fmla="*/ 1889231 w 2521996"/>
                <a:gd name="connsiteY2" fmla="*/ 0 h 2216530"/>
                <a:gd name="connsiteX3" fmla="*/ 2521996 w 2521996"/>
                <a:gd name="connsiteY3" fmla="*/ 632765 h 2216530"/>
                <a:gd name="connsiteX4" fmla="*/ 2521996 w 2521996"/>
                <a:gd name="connsiteY4" fmla="*/ 632765 h 2216530"/>
                <a:gd name="connsiteX5" fmla="*/ 1889231 w 2521996"/>
                <a:gd name="connsiteY5" fmla="*/ 1265530 h 2216530"/>
                <a:gd name="connsiteX6" fmla="*/ 667593 w 2521996"/>
                <a:gd name="connsiteY6" fmla="*/ 1265530 h 2216530"/>
                <a:gd name="connsiteX7" fmla="*/ 144556 w 2521996"/>
                <a:gd name="connsiteY7" fmla="*/ 2209191 h 2216530"/>
                <a:gd name="connsiteX8" fmla="*/ 34828 w 2521996"/>
                <a:gd name="connsiteY8" fmla="*/ 632765 h 2216530"/>
                <a:gd name="connsiteX0" fmla="*/ 38917 w 2526085"/>
                <a:gd name="connsiteY0" fmla="*/ 632765 h 2420235"/>
                <a:gd name="connsiteX1" fmla="*/ 671682 w 2526085"/>
                <a:gd name="connsiteY1" fmla="*/ 0 h 2420235"/>
                <a:gd name="connsiteX2" fmla="*/ 1893320 w 2526085"/>
                <a:gd name="connsiteY2" fmla="*/ 0 h 2420235"/>
                <a:gd name="connsiteX3" fmla="*/ 2526085 w 2526085"/>
                <a:gd name="connsiteY3" fmla="*/ 632765 h 2420235"/>
                <a:gd name="connsiteX4" fmla="*/ 2526085 w 2526085"/>
                <a:gd name="connsiteY4" fmla="*/ 632765 h 2420235"/>
                <a:gd name="connsiteX5" fmla="*/ 1893320 w 2526085"/>
                <a:gd name="connsiteY5" fmla="*/ 1265530 h 2420235"/>
                <a:gd name="connsiteX6" fmla="*/ 671682 w 2526085"/>
                <a:gd name="connsiteY6" fmla="*/ 1265530 h 2420235"/>
                <a:gd name="connsiteX7" fmla="*/ 134015 w 2526085"/>
                <a:gd name="connsiteY7" fmla="*/ 2414017 h 2420235"/>
                <a:gd name="connsiteX8" fmla="*/ 38917 w 2526085"/>
                <a:gd name="connsiteY8" fmla="*/ 632765 h 2420235"/>
                <a:gd name="connsiteX0" fmla="*/ 38917 w 2526085"/>
                <a:gd name="connsiteY0" fmla="*/ 632765 h 2414017"/>
                <a:gd name="connsiteX1" fmla="*/ 671682 w 2526085"/>
                <a:gd name="connsiteY1" fmla="*/ 0 h 2414017"/>
                <a:gd name="connsiteX2" fmla="*/ 1893320 w 2526085"/>
                <a:gd name="connsiteY2" fmla="*/ 0 h 2414017"/>
                <a:gd name="connsiteX3" fmla="*/ 2526085 w 2526085"/>
                <a:gd name="connsiteY3" fmla="*/ 632765 h 2414017"/>
                <a:gd name="connsiteX4" fmla="*/ 2526085 w 2526085"/>
                <a:gd name="connsiteY4" fmla="*/ 632765 h 2414017"/>
                <a:gd name="connsiteX5" fmla="*/ 1893320 w 2526085"/>
                <a:gd name="connsiteY5" fmla="*/ 1265530 h 2414017"/>
                <a:gd name="connsiteX6" fmla="*/ 671682 w 2526085"/>
                <a:gd name="connsiteY6" fmla="*/ 1265530 h 2414017"/>
                <a:gd name="connsiteX7" fmla="*/ 134015 w 2526085"/>
                <a:gd name="connsiteY7" fmla="*/ 2414017 h 2414017"/>
                <a:gd name="connsiteX8" fmla="*/ 38917 w 2526085"/>
                <a:gd name="connsiteY8" fmla="*/ 632765 h 2414017"/>
                <a:gd name="connsiteX0" fmla="*/ 38917 w 2526085"/>
                <a:gd name="connsiteY0" fmla="*/ 632765 h 2414017"/>
                <a:gd name="connsiteX1" fmla="*/ 671682 w 2526085"/>
                <a:gd name="connsiteY1" fmla="*/ 0 h 2414017"/>
                <a:gd name="connsiteX2" fmla="*/ 1893320 w 2526085"/>
                <a:gd name="connsiteY2" fmla="*/ 0 h 2414017"/>
                <a:gd name="connsiteX3" fmla="*/ 2526085 w 2526085"/>
                <a:gd name="connsiteY3" fmla="*/ 632765 h 2414017"/>
                <a:gd name="connsiteX4" fmla="*/ 2526085 w 2526085"/>
                <a:gd name="connsiteY4" fmla="*/ 632765 h 2414017"/>
                <a:gd name="connsiteX5" fmla="*/ 1893320 w 2526085"/>
                <a:gd name="connsiteY5" fmla="*/ 1265530 h 2414017"/>
                <a:gd name="connsiteX6" fmla="*/ 671682 w 2526085"/>
                <a:gd name="connsiteY6" fmla="*/ 1265530 h 2414017"/>
                <a:gd name="connsiteX7" fmla="*/ 134015 w 2526085"/>
                <a:gd name="connsiteY7" fmla="*/ 2414017 h 2414017"/>
                <a:gd name="connsiteX8" fmla="*/ 38917 w 2526085"/>
                <a:gd name="connsiteY8" fmla="*/ 632765 h 2414017"/>
                <a:gd name="connsiteX0" fmla="*/ 38917 w 2526085"/>
                <a:gd name="connsiteY0" fmla="*/ 632765 h 2414017"/>
                <a:gd name="connsiteX1" fmla="*/ 671682 w 2526085"/>
                <a:gd name="connsiteY1" fmla="*/ 0 h 2414017"/>
                <a:gd name="connsiteX2" fmla="*/ 1893320 w 2526085"/>
                <a:gd name="connsiteY2" fmla="*/ 0 h 2414017"/>
                <a:gd name="connsiteX3" fmla="*/ 2526085 w 2526085"/>
                <a:gd name="connsiteY3" fmla="*/ 632765 h 2414017"/>
                <a:gd name="connsiteX4" fmla="*/ 2526085 w 2526085"/>
                <a:gd name="connsiteY4" fmla="*/ 632765 h 2414017"/>
                <a:gd name="connsiteX5" fmla="*/ 1893320 w 2526085"/>
                <a:gd name="connsiteY5" fmla="*/ 1265530 h 2414017"/>
                <a:gd name="connsiteX6" fmla="*/ 671682 w 2526085"/>
                <a:gd name="connsiteY6" fmla="*/ 1265530 h 2414017"/>
                <a:gd name="connsiteX7" fmla="*/ 134015 w 2526085"/>
                <a:gd name="connsiteY7" fmla="*/ 2414017 h 2414017"/>
                <a:gd name="connsiteX8" fmla="*/ 38917 w 2526085"/>
                <a:gd name="connsiteY8" fmla="*/ 632765 h 2414017"/>
                <a:gd name="connsiteX0" fmla="*/ 101443 w 2588611"/>
                <a:gd name="connsiteY0" fmla="*/ 632765 h 2428647"/>
                <a:gd name="connsiteX1" fmla="*/ 734208 w 2588611"/>
                <a:gd name="connsiteY1" fmla="*/ 0 h 2428647"/>
                <a:gd name="connsiteX2" fmla="*/ 1955846 w 2588611"/>
                <a:gd name="connsiteY2" fmla="*/ 0 h 2428647"/>
                <a:gd name="connsiteX3" fmla="*/ 2588611 w 2588611"/>
                <a:gd name="connsiteY3" fmla="*/ 632765 h 2428647"/>
                <a:gd name="connsiteX4" fmla="*/ 2588611 w 2588611"/>
                <a:gd name="connsiteY4" fmla="*/ 632765 h 2428647"/>
                <a:gd name="connsiteX5" fmla="*/ 1955846 w 2588611"/>
                <a:gd name="connsiteY5" fmla="*/ 1265530 h 2428647"/>
                <a:gd name="connsiteX6" fmla="*/ 734208 w 2588611"/>
                <a:gd name="connsiteY6" fmla="*/ 1265530 h 2428647"/>
                <a:gd name="connsiteX7" fmla="*/ 65084 w 2588611"/>
                <a:gd name="connsiteY7" fmla="*/ 2428647 h 2428647"/>
                <a:gd name="connsiteX8" fmla="*/ 101443 w 2588611"/>
                <a:gd name="connsiteY8" fmla="*/ 632765 h 2428647"/>
                <a:gd name="connsiteX0" fmla="*/ 63322 w 2550490"/>
                <a:gd name="connsiteY0" fmla="*/ 632765 h 2428647"/>
                <a:gd name="connsiteX1" fmla="*/ 696087 w 2550490"/>
                <a:gd name="connsiteY1" fmla="*/ 0 h 2428647"/>
                <a:gd name="connsiteX2" fmla="*/ 1917725 w 2550490"/>
                <a:gd name="connsiteY2" fmla="*/ 0 h 2428647"/>
                <a:gd name="connsiteX3" fmla="*/ 2550490 w 2550490"/>
                <a:gd name="connsiteY3" fmla="*/ 632765 h 2428647"/>
                <a:gd name="connsiteX4" fmla="*/ 2550490 w 2550490"/>
                <a:gd name="connsiteY4" fmla="*/ 632765 h 2428647"/>
                <a:gd name="connsiteX5" fmla="*/ 1917725 w 2550490"/>
                <a:gd name="connsiteY5" fmla="*/ 1265530 h 2428647"/>
                <a:gd name="connsiteX6" fmla="*/ 696087 w 2550490"/>
                <a:gd name="connsiteY6" fmla="*/ 1265530 h 2428647"/>
                <a:gd name="connsiteX7" fmla="*/ 26963 w 2550490"/>
                <a:gd name="connsiteY7" fmla="*/ 2428647 h 2428647"/>
                <a:gd name="connsiteX8" fmla="*/ 63322 w 2550490"/>
                <a:gd name="connsiteY8" fmla="*/ 632765 h 2428647"/>
                <a:gd name="connsiteX0" fmla="*/ 63322 w 2550490"/>
                <a:gd name="connsiteY0" fmla="*/ 632765 h 2428647"/>
                <a:gd name="connsiteX1" fmla="*/ 696087 w 2550490"/>
                <a:gd name="connsiteY1" fmla="*/ 0 h 2428647"/>
                <a:gd name="connsiteX2" fmla="*/ 1917725 w 2550490"/>
                <a:gd name="connsiteY2" fmla="*/ 0 h 2428647"/>
                <a:gd name="connsiteX3" fmla="*/ 2550490 w 2550490"/>
                <a:gd name="connsiteY3" fmla="*/ 632765 h 2428647"/>
                <a:gd name="connsiteX4" fmla="*/ 2550490 w 2550490"/>
                <a:gd name="connsiteY4" fmla="*/ 632765 h 2428647"/>
                <a:gd name="connsiteX5" fmla="*/ 1917725 w 2550490"/>
                <a:gd name="connsiteY5" fmla="*/ 1265530 h 2428647"/>
                <a:gd name="connsiteX6" fmla="*/ 696087 w 2550490"/>
                <a:gd name="connsiteY6" fmla="*/ 1265530 h 2428647"/>
                <a:gd name="connsiteX7" fmla="*/ 26963 w 2550490"/>
                <a:gd name="connsiteY7" fmla="*/ 2428647 h 2428647"/>
                <a:gd name="connsiteX8" fmla="*/ 63322 w 2550490"/>
                <a:gd name="connsiteY8" fmla="*/ 632765 h 2428647"/>
                <a:gd name="connsiteX0" fmla="*/ 48615 w 2581792"/>
                <a:gd name="connsiteY0" fmla="*/ 683972 h 2428647"/>
                <a:gd name="connsiteX1" fmla="*/ 727389 w 2581792"/>
                <a:gd name="connsiteY1" fmla="*/ 0 h 2428647"/>
                <a:gd name="connsiteX2" fmla="*/ 1949027 w 2581792"/>
                <a:gd name="connsiteY2" fmla="*/ 0 h 2428647"/>
                <a:gd name="connsiteX3" fmla="*/ 2581792 w 2581792"/>
                <a:gd name="connsiteY3" fmla="*/ 632765 h 2428647"/>
                <a:gd name="connsiteX4" fmla="*/ 2581792 w 2581792"/>
                <a:gd name="connsiteY4" fmla="*/ 632765 h 2428647"/>
                <a:gd name="connsiteX5" fmla="*/ 1949027 w 2581792"/>
                <a:gd name="connsiteY5" fmla="*/ 1265530 h 2428647"/>
                <a:gd name="connsiteX6" fmla="*/ 727389 w 2581792"/>
                <a:gd name="connsiteY6" fmla="*/ 1265530 h 2428647"/>
                <a:gd name="connsiteX7" fmla="*/ 58265 w 2581792"/>
                <a:gd name="connsiteY7" fmla="*/ 2428647 h 2428647"/>
                <a:gd name="connsiteX8" fmla="*/ 48615 w 2581792"/>
                <a:gd name="connsiteY8" fmla="*/ 683972 h 2428647"/>
                <a:gd name="connsiteX0" fmla="*/ 1 w 2533178"/>
                <a:gd name="connsiteY0" fmla="*/ 683972 h 2428647"/>
                <a:gd name="connsiteX1" fmla="*/ 678775 w 2533178"/>
                <a:gd name="connsiteY1" fmla="*/ 0 h 2428647"/>
                <a:gd name="connsiteX2" fmla="*/ 1900413 w 2533178"/>
                <a:gd name="connsiteY2" fmla="*/ 0 h 2428647"/>
                <a:gd name="connsiteX3" fmla="*/ 2533178 w 2533178"/>
                <a:gd name="connsiteY3" fmla="*/ 632765 h 2428647"/>
                <a:gd name="connsiteX4" fmla="*/ 2533178 w 2533178"/>
                <a:gd name="connsiteY4" fmla="*/ 632765 h 2428647"/>
                <a:gd name="connsiteX5" fmla="*/ 1900413 w 2533178"/>
                <a:gd name="connsiteY5" fmla="*/ 1265530 h 2428647"/>
                <a:gd name="connsiteX6" fmla="*/ 678775 w 2533178"/>
                <a:gd name="connsiteY6" fmla="*/ 1265530 h 2428647"/>
                <a:gd name="connsiteX7" fmla="*/ 9651 w 2533178"/>
                <a:gd name="connsiteY7" fmla="*/ 2428647 h 2428647"/>
                <a:gd name="connsiteX8" fmla="*/ 1 w 2533178"/>
                <a:gd name="connsiteY8" fmla="*/ 683972 h 2428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3178" h="2428647">
                  <a:moveTo>
                    <a:pt x="1" y="683972"/>
                  </a:moveTo>
                  <a:cubicBezTo>
                    <a:pt x="-216" y="191416"/>
                    <a:pt x="307363" y="21946"/>
                    <a:pt x="678775" y="0"/>
                  </a:cubicBezTo>
                  <a:lnTo>
                    <a:pt x="1900413" y="0"/>
                  </a:lnTo>
                  <a:cubicBezTo>
                    <a:pt x="2249879" y="0"/>
                    <a:pt x="2533178" y="283299"/>
                    <a:pt x="2533178" y="632765"/>
                  </a:cubicBezTo>
                  <a:lnTo>
                    <a:pt x="2533178" y="632765"/>
                  </a:lnTo>
                  <a:cubicBezTo>
                    <a:pt x="2533178" y="982231"/>
                    <a:pt x="2249879" y="1265530"/>
                    <a:pt x="1900413" y="1265530"/>
                  </a:cubicBezTo>
                  <a:lnTo>
                    <a:pt x="678775" y="1265530"/>
                  </a:lnTo>
                  <a:cubicBezTo>
                    <a:pt x="414818" y="1248461"/>
                    <a:pt x="58709" y="1751382"/>
                    <a:pt x="9651" y="2428647"/>
                  </a:cubicBezTo>
                  <a:cubicBezTo>
                    <a:pt x="2783" y="2250034"/>
                    <a:pt x="218" y="1176528"/>
                    <a:pt x="1" y="683972"/>
                  </a:cubicBezTo>
                  <a:close/>
                </a:path>
              </a:pathLst>
            </a:custGeom>
            <a:solidFill>
              <a:srgbClr val="BDD203"/>
            </a:solidFill>
            <a:ln w="127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prstClr val="white"/>
                </a:solidFill>
              </a:endParaRPr>
            </a:p>
          </p:txBody>
        </p:sp>
        <p:sp>
          <p:nvSpPr>
            <p:cNvPr id="54" name="Rounded Rectangle 23"/>
            <p:cNvSpPr/>
            <p:nvPr/>
          </p:nvSpPr>
          <p:spPr>
            <a:xfrm>
              <a:off x="4575174" y="2331960"/>
              <a:ext cx="2627313" cy="2725803"/>
            </a:xfrm>
            <a:custGeom>
              <a:avLst/>
              <a:gdLst>
                <a:gd name="connsiteX0" fmla="*/ 0 w 2487168"/>
                <a:gd name="connsiteY0" fmla="*/ 632765 h 1265530"/>
                <a:gd name="connsiteX1" fmla="*/ 632765 w 2487168"/>
                <a:gd name="connsiteY1" fmla="*/ 0 h 1265530"/>
                <a:gd name="connsiteX2" fmla="*/ 1854403 w 2487168"/>
                <a:gd name="connsiteY2" fmla="*/ 0 h 1265530"/>
                <a:gd name="connsiteX3" fmla="*/ 2487168 w 2487168"/>
                <a:gd name="connsiteY3" fmla="*/ 632765 h 1265530"/>
                <a:gd name="connsiteX4" fmla="*/ 2487168 w 2487168"/>
                <a:gd name="connsiteY4" fmla="*/ 632765 h 1265530"/>
                <a:gd name="connsiteX5" fmla="*/ 1854403 w 2487168"/>
                <a:gd name="connsiteY5" fmla="*/ 1265530 h 1265530"/>
                <a:gd name="connsiteX6" fmla="*/ 632765 w 2487168"/>
                <a:gd name="connsiteY6" fmla="*/ 1265530 h 1265530"/>
                <a:gd name="connsiteX7" fmla="*/ 0 w 2487168"/>
                <a:gd name="connsiteY7" fmla="*/ 632765 h 1265530"/>
                <a:gd name="connsiteX0" fmla="*/ 10095 w 2497263"/>
                <a:gd name="connsiteY0" fmla="*/ 632765 h 1265530"/>
                <a:gd name="connsiteX1" fmla="*/ 642860 w 2497263"/>
                <a:gd name="connsiteY1" fmla="*/ 0 h 1265530"/>
                <a:gd name="connsiteX2" fmla="*/ 1864498 w 2497263"/>
                <a:gd name="connsiteY2" fmla="*/ 0 h 1265530"/>
                <a:gd name="connsiteX3" fmla="*/ 2497263 w 2497263"/>
                <a:gd name="connsiteY3" fmla="*/ 632765 h 1265530"/>
                <a:gd name="connsiteX4" fmla="*/ 2497263 w 2497263"/>
                <a:gd name="connsiteY4" fmla="*/ 632765 h 1265530"/>
                <a:gd name="connsiteX5" fmla="*/ 1864498 w 2497263"/>
                <a:gd name="connsiteY5" fmla="*/ 1265530 h 1265530"/>
                <a:gd name="connsiteX6" fmla="*/ 642860 w 2497263"/>
                <a:gd name="connsiteY6" fmla="*/ 1265530 h 1265530"/>
                <a:gd name="connsiteX7" fmla="*/ 280757 w 2497263"/>
                <a:gd name="connsiteY7" fmla="*/ 1163117 h 1265530"/>
                <a:gd name="connsiteX8" fmla="*/ 10095 w 2497263"/>
                <a:gd name="connsiteY8" fmla="*/ 632765 h 1265530"/>
                <a:gd name="connsiteX0" fmla="*/ 34828 w 2521996"/>
                <a:gd name="connsiteY0" fmla="*/ 632765 h 2216530"/>
                <a:gd name="connsiteX1" fmla="*/ 667593 w 2521996"/>
                <a:gd name="connsiteY1" fmla="*/ 0 h 2216530"/>
                <a:gd name="connsiteX2" fmla="*/ 1889231 w 2521996"/>
                <a:gd name="connsiteY2" fmla="*/ 0 h 2216530"/>
                <a:gd name="connsiteX3" fmla="*/ 2521996 w 2521996"/>
                <a:gd name="connsiteY3" fmla="*/ 632765 h 2216530"/>
                <a:gd name="connsiteX4" fmla="*/ 2521996 w 2521996"/>
                <a:gd name="connsiteY4" fmla="*/ 632765 h 2216530"/>
                <a:gd name="connsiteX5" fmla="*/ 1889231 w 2521996"/>
                <a:gd name="connsiteY5" fmla="*/ 1265530 h 2216530"/>
                <a:gd name="connsiteX6" fmla="*/ 667593 w 2521996"/>
                <a:gd name="connsiteY6" fmla="*/ 1265530 h 2216530"/>
                <a:gd name="connsiteX7" fmla="*/ 144556 w 2521996"/>
                <a:gd name="connsiteY7" fmla="*/ 2209191 h 2216530"/>
                <a:gd name="connsiteX8" fmla="*/ 34828 w 2521996"/>
                <a:gd name="connsiteY8" fmla="*/ 632765 h 2216530"/>
                <a:gd name="connsiteX0" fmla="*/ 38917 w 2526085"/>
                <a:gd name="connsiteY0" fmla="*/ 632765 h 2420235"/>
                <a:gd name="connsiteX1" fmla="*/ 671682 w 2526085"/>
                <a:gd name="connsiteY1" fmla="*/ 0 h 2420235"/>
                <a:gd name="connsiteX2" fmla="*/ 1893320 w 2526085"/>
                <a:gd name="connsiteY2" fmla="*/ 0 h 2420235"/>
                <a:gd name="connsiteX3" fmla="*/ 2526085 w 2526085"/>
                <a:gd name="connsiteY3" fmla="*/ 632765 h 2420235"/>
                <a:gd name="connsiteX4" fmla="*/ 2526085 w 2526085"/>
                <a:gd name="connsiteY4" fmla="*/ 632765 h 2420235"/>
                <a:gd name="connsiteX5" fmla="*/ 1893320 w 2526085"/>
                <a:gd name="connsiteY5" fmla="*/ 1265530 h 2420235"/>
                <a:gd name="connsiteX6" fmla="*/ 671682 w 2526085"/>
                <a:gd name="connsiteY6" fmla="*/ 1265530 h 2420235"/>
                <a:gd name="connsiteX7" fmla="*/ 134015 w 2526085"/>
                <a:gd name="connsiteY7" fmla="*/ 2414017 h 2420235"/>
                <a:gd name="connsiteX8" fmla="*/ 38917 w 2526085"/>
                <a:gd name="connsiteY8" fmla="*/ 632765 h 2420235"/>
                <a:gd name="connsiteX0" fmla="*/ 38917 w 2526085"/>
                <a:gd name="connsiteY0" fmla="*/ 632765 h 2414017"/>
                <a:gd name="connsiteX1" fmla="*/ 671682 w 2526085"/>
                <a:gd name="connsiteY1" fmla="*/ 0 h 2414017"/>
                <a:gd name="connsiteX2" fmla="*/ 1893320 w 2526085"/>
                <a:gd name="connsiteY2" fmla="*/ 0 h 2414017"/>
                <a:gd name="connsiteX3" fmla="*/ 2526085 w 2526085"/>
                <a:gd name="connsiteY3" fmla="*/ 632765 h 2414017"/>
                <a:gd name="connsiteX4" fmla="*/ 2526085 w 2526085"/>
                <a:gd name="connsiteY4" fmla="*/ 632765 h 2414017"/>
                <a:gd name="connsiteX5" fmla="*/ 1893320 w 2526085"/>
                <a:gd name="connsiteY5" fmla="*/ 1265530 h 2414017"/>
                <a:gd name="connsiteX6" fmla="*/ 671682 w 2526085"/>
                <a:gd name="connsiteY6" fmla="*/ 1265530 h 2414017"/>
                <a:gd name="connsiteX7" fmla="*/ 134015 w 2526085"/>
                <a:gd name="connsiteY7" fmla="*/ 2414017 h 2414017"/>
                <a:gd name="connsiteX8" fmla="*/ 38917 w 2526085"/>
                <a:gd name="connsiteY8" fmla="*/ 632765 h 2414017"/>
                <a:gd name="connsiteX0" fmla="*/ 38917 w 2526085"/>
                <a:gd name="connsiteY0" fmla="*/ 632765 h 2414017"/>
                <a:gd name="connsiteX1" fmla="*/ 671682 w 2526085"/>
                <a:gd name="connsiteY1" fmla="*/ 0 h 2414017"/>
                <a:gd name="connsiteX2" fmla="*/ 1893320 w 2526085"/>
                <a:gd name="connsiteY2" fmla="*/ 0 h 2414017"/>
                <a:gd name="connsiteX3" fmla="*/ 2526085 w 2526085"/>
                <a:gd name="connsiteY3" fmla="*/ 632765 h 2414017"/>
                <a:gd name="connsiteX4" fmla="*/ 2526085 w 2526085"/>
                <a:gd name="connsiteY4" fmla="*/ 632765 h 2414017"/>
                <a:gd name="connsiteX5" fmla="*/ 1893320 w 2526085"/>
                <a:gd name="connsiteY5" fmla="*/ 1265530 h 2414017"/>
                <a:gd name="connsiteX6" fmla="*/ 671682 w 2526085"/>
                <a:gd name="connsiteY6" fmla="*/ 1265530 h 2414017"/>
                <a:gd name="connsiteX7" fmla="*/ 134015 w 2526085"/>
                <a:gd name="connsiteY7" fmla="*/ 2414017 h 2414017"/>
                <a:gd name="connsiteX8" fmla="*/ 38917 w 2526085"/>
                <a:gd name="connsiteY8" fmla="*/ 632765 h 2414017"/>
                <a:gd name="connsiteX0" fmla="*/ 38917 w 2526085"/>
                <a:gd name="connsiteY0" fmla="*/ 632765 h 2414017"/>
                <a:gd name="connsiteX1" fmla="*/ 671682 w 2526085"/>
                <a:gd name="connsiteY1" fmla="*/ 0 h 2414017"/>
                <a:gd name="connsiteX2" fmla="*/ 1893320 w 2526085"/>
                <a:gd name="connsiteY2" fmla="*/ 0 h 2414017"/>
                <a:gd name="connsiteX3" fmla="*/ 2526085 w 2526085"/>
                <a:gd name="connsiteY3" fmla="*/ 632765 h 2414017"/>
                <a:gd name="connsiteX4" fmla="*/ 2526085 w 2526085"/>
                <a:gd name="connsiteY4" fmla="*/ 632765 h 2414017"/>
                <a:gd name="connsiteX5" fmla="*/ 1893320 w 2526085"/>
                <a:gd name="connsiteY5" fmla="*/ 1265530 h 2414017"/>
                <a:gd name="connsiteX6" fmla="*/ 671682 w 2526085"/>
                <a:gd name="connsiteY6" fmla="*/ 1265530 h 2414017"/>
                <a:gd name="connsiteX7" fmla="*/ 134015 w 2526085"/>
                <a:gd name="connsiteY7" fmla="*/ 2414017 h 2414017"/>
                <a:gd name="connsiteX8" fmla="*/ 38917 w 2526085"/>
                <a:gd name="connsiteY8" fmla="*/ 632765 h 2414017"/>
                <a:gd name="connsiteX0" fmla="*/ 101443 w 2588611"/>
                <a:gd name="connsiteY0" fmla="*/ 632765 h 2428647"/>
                <a:gd name="connsiteX1" fmla="*/ 734208 w 2588611"/>
                <a:gd name="connsiteY1" fmla="*/ 0 h 2428647"/>
                <a:gd name="connsiteX2" fmla="*/ 1955846 w 2588611"/>
                <a:gd name="connsiteY2" fmla="*/ 0 h 2428647"/>
                <a:gd name="connsiteX3" fmla="*/ 2588611 w 2588611"/>
                <a:gd name="connsiteY3" fmla="*/ 632765 h 2428647"/>
                <a:gd name="connsiteX4" fmla="*/ 2588611 w 2588611"/>
                <a:gd name="connsiteY4" fmla="*/ 632765 h 2428647"/>
                <a:gd name="connsiteX5" fmla="*/ 1955846 w 2588611"/>
                <a:gd name="connsiteY5" fmla="*/ 1265530 h 2428647"/>
                <a:gd name="connsiteX6" fmla="*/ 734208 w 2588611"/>
                <a:gd name="connsiteY6" fmla="*/ 1265530 h 2428647"/>
                <a:gd name="connsiteX7" fmla="*/ 65084 w 2588611"/>
                <a:gd name="connsiteY7" fmla="*/ 2428647 h 2428647"/>
                <a:gd name="connsiteX8" fmla="*/ 101443 w 2588611"/>
                <a:gd name="connsiteY8" fmla="*/ 632765 h 2428647"/>
                <a:gd name="connsiteX0" fmla="*/ 63322 w 2550490"/>
                <a:gd name="connsiteY0" fmla="*/ 632765 h 2428647"/>
                <a:gd name="connsiteX1" fmla="*/ 696087 w 2550490"/>
                <a:gd name="connsiteY1" fmla="*/ 0 h 2428647"/>
                <a:gd name="connsiteX2" fmla="*/ 1917725 w 2550490"/>
                <a:gd name="connsiteY2" fmla="*/ 0 h 2428647"/>
                <a:gd name="connsiteX3" fmla="*/ 2550490 w 2550490"/>
                <a:gd name="connsiteY3" fmla="*/ 632765 h 2428647"/>
                <a:gd name="connsiteX4" fmla="*/ 2550490 w 2550490"/>
                <a:gd name="connsiteY4" fmla="*/ 632765 h 2428647"/>
                <a:gd name="connsiteX5" fmla="*/ 1917725 w 2550490"/>
                <a:gd name="connsiteY5" fmla="*/ 1265530 h 2428647"/>
                <a:gd name="connsiteX6" fmla="*/ 696087 w 2550490"/>
                <a:gd name="connsiteY6" fmla="*/ 1265530 h 2428647"/>
                <a:gd name="connsiteX7" fmla="*/ 26963 w 2550490"/>
                <a:gd name="connsiteY7" fmla="*/ 2428647 h 2428647"/>
                <a:gd name="connsiteX8" fmla="*/ 63322 w 2550490"/>
                <a:gd name="connsiteY8" fmla="*/ 632765 h 2428647"/>
                <a:gd name="connsiteX0" fmla="*/ 63322 w 2550490"/>
                <a:gd name="connsiteY0" fmla="*/ 632765 h 2428647"/>
                <a:gd name="connsiteX1" fmla="*/ 696087 w 2550490"/>
                <a:gd name="connsiteY1" fmla="*/ 0 h 2428647"/>
                <a:gd name="connsiteX2" fmla="*/ 1917725 w 2550490"/>
                <a:gd name="connsiteY2" fmla="*/ 0 h 2428647"/>
                <a:gd name="connsiteX3" fmla="*/ 2550490 w 2550490"/>
                <a:gd name="connsiteY3" fmla="*/ 632765 h 2428647"/>
                <a:gd name="connsiteX4" fmla="*/ 2550490 w 2550490"/>
                <a:gd name="connsiteY4" fmla="*/ 632765 h 2428647"/>
                <a:gd name="connsiteX5" fmla="*/ 1917725 w 2550490"/>
                <a:gd name="connsiteY5" fmla="*/ 1265530 h 2428647"/>
                <a:gd name="connsiteX6" fmla="*/ 696087 w 2550490"/>
                <a:gd name="connsiteY6" fmla="*/ 1265530 h 2428647"/>
                <a:gd name="connsiteX7" fmla="*/ 26963 w 2550490"/>
                <a:gd name="connsiteY7" fmla="*/ 2428647 h 2428647"/>
                <a:gd name="connsiteX8" fmla="*/ 63322 w 2550490"/>
                <a:gd name="connsiteY8" fmla="*/ 632765 h 2428647"/>
                <a:gd name="connsiteX0" fmla="*/ 48615 w 2581792"/>
                <a:gd name="connsiteY0" fmla="*/ 683972 h 2428647"/>
                <a:gd name="connsiteX1" fmla="*/ 727389 w 2581792"/>
                <a:gd name="connsiteY1" fmla="*/ 0 h 2428647"/>
                <a:gd name="connsiteX2" fmla="*/ 1949027 w 2581792"/>
                <a:gd name="connsiteY2" fmla="*/ 0 h 2428647"/>
                <a:gd name="connsiteX3" fmla="*/ 2581792 w 2581792"/>
                <a:gd name="connsiteY3" fmla="*/ 632765 h 2428647"/>
                <a:gd name="connsiteX4" fmla="*/ 2581792 w 2581792"/>
                <a:gd name="connsiteY4" fmla="*/ 632765 h 2428647"/>
                <a:gd name="connsiteX5" fmla="*/ 1949027 w 2581792"/>
                <a:gd name="connsiteY5" fmla="*/ 1265530 h 2428647"/>
                <a:gd name="connsiteX6" fmla="*/ 727389 w 2581792"/>
                <a:gd name="connsiteY6" fmla="*/ 1265530 h 2428647"/>
                <a:gd name="connsiteX7" fmla="*/ 58265 w 2581792"/>
                <a:gd name="connsiteY7" fmla="*/ 2428647 h 2428647"/>
                <a:gd name="connsiteX8" fmla="*/ 48615 w 2581792"/>
                <a:gd name="connsiteY8" fmla="*/ 683972 h 2428647"/>
                <a:gd name="connsiteX0" fmla="*/ 1 w 2533178"/>
                <a:gd name="connsiteY0" fmla="*/ 683972 h 2428647"/>
                <a:gd name="connsiteX1" fmla="*/ 678775 w 2533178"/>
                <a:gd name="connsiteY1" fmla="*/ 0 h 2428647"/>
                <a:gd name="connsiteX2" fmla="*/ 1900413 w 2533178"/>
                <a:gd name="connsiteY2" fmla="*/ 0 h 2428647"/>
                <a:gd name="connsiteX3" fmla="*/ 2533178 w 2533178"/>
                <a:gd name="connsiteY3" fmla="*/ 632765 h 2428647"/>
                <a:gd name="connsiteX4" fmla="*/ 2533178 w 2533178"/>
                <a:gd name="connsiteY4" fmla="*/ 632765 h 2428647"/>
                <a:gd name="connsiteX5" fmla="*/ 1900413 w 2533178"/>
                <a:gd name="connsiteY5" fmla="*/ 1265530 h 2428647"/>
                <a:gd name="connsiteX6" fmla="*/ 678775 w 2533178"/>
                <a:gd name="connsiteY6" fmla="*/ 1265530 h 2428647"/>
                <a:gd name="connsiteX7" fmla="*/ 9651 w 2533178"/>
                <a:gd name="connsiteY7" fmla="*/ 2428647 h 2428647"/>
                <a:gd name="connsiteX8" fmla="*/ 1 w 2533178"/>
                <a:gd name="connsiteY8" fmla="*/ 683972 h 2428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3178" h="2428647">
                  <a:moveTo>
                    <a:pt x="1" y="683972"/>
                  </a:moveTo>
                  <a:cubicBezTo>
                    <a:pt x="-216" y="191416"/>
                    <a:pt x="307363" y="21946"/>
                    <a:pt x="678775" y="0"/>
                  </a:cubicBezTo>
                  <a:lnTo>
                    <a:pt x="1900413" y="0"/>
                  </a:lnTo>
                  <a:cubicBezTo>
                    <a:pt x="2249879" y="0"/>
                    <a:pt x="2533178" y="283299"/>
                    <a:pt x="2533178" y="632765"/>
                  </a:cubicBezTo>
                  <a:lnTo>
                    <a:pt x="2533178" y="632765"/>
                  </a:lnTo>
                  <a:cubicBezTo>
                    <a:pt x="2533178" y="982231"/>
                    <a:pt x="2249879" y="1265530"/>
                    <a:pt x="1900413" y="1265530"/>
                  </a:cubicBezTo>
                  <a:lnTo>
                    <a:pt x="678775" y="1265530"/>
                  </a:lnTo>
                  <a:cubicBezTo>
                    <a:pt x="414818" y="1248461"/>
                    <a:pt x="58709" y="1751382"/>
                    <a:pt x="9651" y="2428647"/>
                  </a:cubicBezTo>
                  <a:cubicBezTo>
                    <a:pt x="2783" y="2250034"/>
                    <a:pt x="218" y="1176528"/>
                    <a:pt x="1" y="683972"/>
                  </a:cubicBezTo>
                  <a:close/>
                </a:path>
              </a:pathLst>
            </a:custGeom>
            <a:solidFill>
              <a:srgbClr val="00A1DE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prstClr val="white"/>
                </a:solidFill>
              </a:endParaRPr>
            </a:p>
          </p:txBody>
        </p:sp>
        <p:sp>
          <p:nvSpPr>
            <p:cNvPr id="55" name="Rounded Rectangle 23"/>
            <p:cNvSpPr/>
            <p:nvPr/>
          </p:nvSpPr>
          <p:spPr>
            <a:xfrm flipH="1">
              <a:off x="2111099" y="3844648"/>
              <a:ext cx="2464071" cy="3046340"/>
            </a:xfrm>
            <a:custGeom>
              <a:avLst/>
              <a:gdLst>
                <a:gd name="connsiteX0" fmla="*/ 0 w 2487168"/>
                <a:gd name="connsiteY0" fmla="*/ 632765 h 1265530"/>
                <a:gd name="connsiteX1" fmla="*/ 632765 w 2487168"/>
                <a:gd name="connsiteY1" fmla="*/ 0 h 1265530"/>
                <a:gd name="connsiteX2" fmla="*/ 1854403 w 2487168"/>
                <a:gd name="connsiteY2" fmla="*/ 0 h 1265530"/>
                <a:gd name="connsiteX3" fmla="*/ 2487168 w 2487168"/>
                <a:gd name="connsiteY3" fmla="*/ 632765 h 1265530"/>
                <a:gd name="connsiteX4" fmla="*/ 2487168 w 2487168"/>
                <a:gd name="connsiteY4" fmla="*/ 632765 h 1265530"/>
                <a:gd name="connsiteX5" fmla="*/ 1854403 w 2487168"/>
                <a:gd name="connsiteY5" fmla="*/ 1265530 h 1265530"/>
                <a:gd name="connsiteX6" fmla="*/ 632765 w 2487168"/>
                <a:gd name="connsiteY6" fmla="*/ 1265530 h 1265530"/>
                <a:gd name="connsiteX7" fmla="*/ 0 w 2487168"/>
                <a:gd name="connsiteY7" fmla="*/ 632765 h 1265530"/>
                <a:gd name="connsiteX0" fmla="*/ 10095 w 2497263"/>
                <a:gd name="connsiteY0" fmla="*/ 632765 h 1265530"/>
                <a:gd name="connsiteX1" fmla="*/ 642860 w 2497263"/>
                <a:gd name="connsiteY1" fmla="*/ 0 h 1265530"/>
                <a:gd name="connsiteX2" fmla="*/ 1864498 w 2497263"/>
                <a:gd name="connsiteY2" fmla="*/ 0 h 1265530"/>
                <a:gd name="connsiteX3" fmla="*/ 2497263 w 2497263"/>
                <a:gd name="connsiteY3" fmla="*/ 632765 h 1265530"/>
                <a:gd name="connsiteX4" fmla="*/ 2497263 w 2497263"/>
                <a:gd name="connsiteY4" fmla="*/ 632765 h 1265530"/>
                <a:gd name="connsiteX5" fmla="*/ 1864498 w 2497263"/>
                <a:gd name="connsiteY5" fmla="*/ 1265530 h 1265530"/>
                <a:gd name="connsiteX6" fmla="*/ 642860 w 2497263"/>
                <a:gd name="connsiteY6" fmla="*/ 1265530 h 1265530"/>
                <a:gd name="connsiteX7" fmla="*/ 280757 w 2497263"/>
                <a:gd name="connsiteY7" fmla="*/ 1163117 h 1265530"/>
                <a:gd name="connsiteX8" fmla="*/ 10095 w 2497263"/>
                <a:gd name="connsiteY8" fmla="*/ 632765 h 1265530"/>
                <a:gd name="connsiteX0" fmla="*/ 34828 w 2521996"/>
                <a:gd name="connsiteY0" fmla="*/ 632765 h 2216530"/>
                <a:gd name="connsiteX1" fmla="*/ 667593 w 2521996"/>
                <a:gd name="connsiteY1" fmla="*/ 0 h 2216530"/>
                <a:gd name="connsiteX2" fmla="*/ 1889231 w 2521996"/>
                <a:gd name="connsiteY2" fmla="*/ 0 h 2216530"/>
                <a:gd name="connsiteX3" fmla="*/ 2521996 w 2521996"/>
                <a:gd name="connsiteY3" fmla="*/ 632765 h 2216530"/>
                <a:gd name="connsiteX4" fmla="*/ 2521996 w 2521996"/>
                <a:gd name="connsiteY4" fmla="*/ 632765 h 2216530"/>
                <a:gd name="connsiteX5" fmla="*/ 1889231 w 2521996"/>
                <a:gd name="connsiteY5" fmla="*/ 1265530 h 2216530"/>
                <a:gd name="connsiteX6" fmla="*/ 667593 w 2521996"/>
                <a:gd name="connsiteY6" fmla="*/ 1265530 h 2216530"/>
                <a:gd name="connsiteX7" fmla="*/ 144556 w 2521996"/>
                <a:gd name="connsiteY7" fmla="*/ 2209191 h 2216530"/>
                <a:gd name="connsiteX8" fmla="*/ 34828 w 2521996"/>
                <a:gd name="connsiteY8" fmla="*/ 632765 h 2216530"/>
                <a:gd name="connsiteX0" fmla="*/ 38917 w 2526085"/>
                <a:gd name="connsiteY0" fmla="*/ 632765 h 2420235"/>
                <a:gd name="connsiteX1" fmla="*/ 671682 w 2526085"/>
                <a:gd name="connsiteY1" fmla="*/ 0 h 2420235"/>
                <a:gd name="connsiteX2" fmla="*/ 1893320 w 2526085"/>
                <a:gd name="connsiteY2" fmla="*/ 0 h 2420235"/>
                <a:gd name="connsiteX3" fmla="*/ 2526085 w 2526085"/>
                <a:gd name="connsiteY3" fmla="*/ 632765 h 2420235"/>
                <a:gd name="connsiteX4" fmla="*/ 2526085 w 2526085"/>
                <a:gd name="connsiteY4" fmla="*/ 632765 h 2420235"/>
                <a:gd name="connsiteX5" fmla="*/ 1893320 w 2526085"/>
                <a:gd name="connsiteY5" fmla="*/ 1265530 h 2420235"/>
                <a:gd name="connsiteX6" fmla="*/ 671682 w 2526085"/>
                <a:gd name="connsiteY6" fmla="*/ 1265530 h 2420235"/>
                <a:gd name="connsiteX7" fmla="*/ 134015 w 2526085"/>
                <a:gd name="connsiteY7" fmla="*/ 2414017 h 2420235"/>
                <a:gd name="connsiteX8" fmla="*/ 38917 w 2526085"/>
                <a:gd name="connsiteY8" fmla="*/ 632765 h 2420235"/>
                <a:gd name="connsiteX0" fmla="*/ 38917 w 2526085"/>
                <a:gd name="connsiteY0" fmla="*/ 632765 h 2414017"/>
                <a:gd name="connsiteX1" fmla="*/ 671682 w 2526085"/>
                <a:gd name="connsiteY1" fmla="*/ 0 h 2414017"/>
                <a:gd name="connsiteX2" fmla="*/ 1893320 w 2526085"/>
                <a:gd name="connsiteY2" fmla="*/ 0 h 2414017"/>
                <a:gd name="connsiteX3" fmla="*/ 2526085 w 2526085"/>
                <a:gd name="connsiteY3" fmla="*/ 632765 h 2414017"/>
                <a:gd name="connsiteX4" fmla="*/ 2526085 w 2526085"/>
                <a:gd name="connsiteY4" fmla="*/ 632765 h 2414017"/>
                <a:gd name="connsiteX5" fmla="*/ 1893320 w 2526085"/>
                <a:gd name="connsiteY5" fmla="*/ 1265530 h 2414017"/>
                <a:gd name="connsiteX6" fmla="*/ 671682 w 2526085"/>
                <a:gd name="connsiteY6" fmla="*/ 1265530 h 2414017"/>
                <a:gd name="connsiteX7" fmla="*/ 134015 w 2526085"/>
                <a:gd name="connsiteY7" fmla="*/ 2414017 h 2414017"/>
                <a:gd name="connsiteX8" fmla="*/ 38917 w 2526085"/>
                <a:gd name="connsiteY8" fmla="*/ 632765 h 2414017"/>
                <a:gd name="connsiteX0" fmla="*/ 38917 w 2526085"/>
                <a:gd name="connsiteY0" fmla="*/ 632765 h 2414017"/>
                <a:gd name="connsiteX1" fmla="*/ 671682 w 2526085"/>
                <a:gd name="connsiteY1" fmla="*/ 0 h 2414017"/>
                <a:gd name="connsiteX2" fmla="*/ 1893320 w 2526085"/>
                <a:gd name="connsiteY2" fmla="*/ 0 h 2414017"/>
                <a:gd name="connsiteX3" fmla="*/ 2526085 w 2526085"/>
                <a:gd name="connsiteY3" fmla="*/ 632765 h 2414017"/>
                <a:gd name="connsiteX4" fmla="*/ 2526085 w 2526085"/>
                <a:gd name="connsiteY4" fmla="*/ 632765 h 2414017"/>
                <a:gd name="connsiteX5" fmla="*/ 1893320 w 2526085"/>
                <a:gd name="connsiteY5" fmla="*/ 1265530 h 2414017"/>
                <a:gd name="connsiteX6" fmla="*/ 671682 w 2526085"/>
                <a:gd name="connsiteY6" fmla="*/ 1265530 h 2414017"/>
                <a:gd name="connsiteX7" fmla="*/ 134015 w 2526085"/>
                <a:gd name="connsiteY7" fmla="*/ 2414017 h 2414017"/>
                <a:gd name="connsiteX8" fmla="*/ 38917 w 2526085"/>
                <a:gd name="connsiteY8" fmla="*/ 632765 h 2414017"/>
                <a:gd name="connsiteX0" fmla="*/ 38917 w 2526085"/>
                <a:gd name="connsiteY0" fmla="*/ 632765 h 2414017"/>
                <a:gd name="connsiteX1" fmla="*/ 671682 w 2526085"/>
                <a:gd name="connsiteY1" fmla="*/ 0 h 2414017"/>
                <a:gd name="connsiteX2" fmla="*/ 1893320 w 2526085"/>
                <a:gd name="connsiteY2" fmla="*/ 0 h 2414017"/>
                <a:gd name="connsiteX3" fmla="*/ 2526085 w 2526085"/>
                <a:gd name="connsiteY3" fmla="*/ 632765 h 2414017"/>
                <a:gd name="connsiteX4" fmla="*/ 2526085 w 2526085"/>
                <a:gd name="connsiteY4" fmla="*/ 632765 h 2414017"/>
                <a:gd name="connsiteX5" fmla="*/ 1893320 w 2526085"/>
                <a:gd name="connsiteY5" fmla="*/ 1265530 h 2414017"/>
                <a:gd name="connsiteX6" fmla="*/ 671682 w 2526085"/>
                <a:gd name="connsiteY6" fmla="*/ 1265530 h 2414017"/>
                <a:gd name="connsiteX7" fmla="*/ 134015 w 2526085"/>
                <a:gd name="connsiteY7" fmla="*/ 2414017 h 2414017"/>
                <a:gd name="connsiteX8" fmla="*/ 38917 w 2526085"/>
                <a:gd name="connsiteY8" fmla="*/ 632765 h 2414017"/>
                <a:gd name="connsiteX0" fmla="*/ 101443 w 2588611"/>
                <a:gd name="connsiteY0" fmla="*/ 632765 h 2428647"/>
                <a:gd name="connsiteX1" fmla="*/ 734208 w 2588611"/>
                <a:gd name="connsiteY1" fmla="*/ 0 h 2428647"/>
                <a:gd name="connsiteX2" fmla="*/ 1955846 w 2588611"/>
                <a:gd name="connsiteY2" fmla="*/ 0 h 2428647"/>
                <a:gd name="connsiteX3" fmla="*/ 2588611 w 2588611"/>
                <a:gd name="connsiteY3" fmla="*/ 632765 h 2428647"/>
                <a:gd name="connsiteX4" fmla="*/ 2588611 w 2588611"/>
                <a:gd name="connsiteY4" fmla="*/ 632765 h 2428647"/>
                <a:gd name="connsiteX5" fmla="*/ 1955846 w 2588611"/>
                <a:gd name="connsiteY5" fmla="*/ 1265530 h 2428647"/>
                <a:gd name="connsiteX6" fmla="*/ 734208 w 2588611"/>
                <a:gd name="connsiteY6" fmla="*/ 1265530 h 2428647"/>
                <a:gd name="connsiteX7" fmla="*/ 65084 w 2588611"/>
                <a:gd name="connsiteY7" fmla="*/ 2428647 h 2428647"/>
                <a:gd name="connsiteX8" fmla="*/ 101443 w 2588611"/>
                <a:gd name="connsiteY8" fmla="*/ 632765 h 2428647"/>
                <a:gd name="connsiteX0" fmla="*/ 63322 w 2550490"/>
                <a:gd name="connsiteY0" fmla="*/ 632765 h 2428647"/>
                <a:gd name="connsiteX1" fmla="*/ 696087 w 2550490"/>
                <a:gd name="connsiteY1" fmla="*/ 0 h 2428647"/>
                <a:gd name="connsiteX2" fmla="*/ 1917725 w 2550490"/>
                <a:gd name="connsiteY2" fmla="*/ 0 h 2428647"/>
                <a:gd name="connsiteX3" fmla="*/ 2550490 w 2550490"/>
                <a:gd name="connsiteY3" fmla="*/ 632765 h 2428647"/>
                <a:gd name="connsiteX4" fmla="*/ 2550490 w 2550490"/>
                <a:gd name="connsiteY4" fmla="*/ 632765 h 2428647"/>
                <a:gd name="connsiteX5" fmla="*/ 1917725 w 2550490"/>
                <a:gd name="connsiteY5" fmla="*/ 1265530 h 2428647"/>
                <a:gd name="connsiteX6" fmla="*/ 696087 w 2550490"/>
                <a:gd name="connsiteY6" fmla="*/ 1265530 h 2428647"/>
                <a:gd name="connsiteX7" fmla="*/ 26963 w 2550490"/>
                <a:gd name="connsiteY7" fmla="*/ 2428647 h 2428647"/>
                <a:gd name="connsiteX8" fmla="*/ 63322 w 2550490"/>
                <a:gd name="connsiteY8" fmla="*/ 632765 h 2428647"/>
                <a:gd name="connsiteX0" fmla="*/ 63322 w 2550490"/>
                <a:gd name="connsiteY0" fmla="*/ 632765 h 2428647"/>
                <a:gd name="connsiteX1" fmla="*/ 696087 w 2550490"/>
                <a:gd name="connsiteY1" fmla="*/ 0 h 2428647"/>
                <a:gd name="connsiteX2" fmla="*/ 1917725 w 2550490"/>
                <a:gd name="connsiteY2" fmla="*/ 0 h 2428647"/>
                <a:gd name="connsiteX3" fmla="*/ 2550490 w 2550490"/>
                <a:gd name="connsiteY3" fmla="*/ 632765 h 2428647"/>
                <a:gd name="connsiteX4" fmla="*/ 2550490 w 2550490"/>
                <a:gd name="connsiteY4" fmla="*/ 632765 h 2428647"/>
                <a:gd name="connsiteX5" fmla="*/ 1917725 w 2550490"/>
                <a:gd name="connsiteY5" fmla="*/ 1265530 h 2428647"/>
                <a:gd name="connsiteX6" fmla="*/ 696087 w 2550490"/>
                <a:gd name="connsiteY6" fmla="*/ 1265530 h 2428647"/>
                <a:gd name="connsiteX7" fmla="*/ 26963 w 2550490"/>
                <a:gd name="connsiteY7" fmla="*/ 2428647 h 2428647"/>
                <a:gd name="connsiteX8" fmla="*/ 63322 w 2550490"/>
                <a:gd name="connsiteY8" fmla="*/ 632765 h 2428647"/>
                <a:gd name="connsiteX0" fmla="*/ 48615 w 2581792"/>
                <a:gd name="connsiteY0" fmla="*/ 683972 h 2428647"/>
                <a:gd name="connsiteX1" fmla="*/ 727389 w 2581792"/>
                <a:gd name="connsiteY1" fmla="*/ 0 h 2428647"/>
                <a:gd name="connsiteX2" fmla="*/ 1949027 w 2581792"/>
                <a:gd name="connsiteY2" fmla="*/ 0 h 2428647"/>
                <a:gd name="connsiteX3" fmla="*/ 2581792 w 2581792"/>
                <a:gd name="connsiteY3" fmla="*/ 632765 h 2428647"/>
                <a:gd name="connsiteX4" fmla="*/ 2581792 w 2581792"/>
                <a:gd name="connsiteY4" fmla="*/ 632765 h 2428647"/>
                <a:gd name="connsiteX5" fmla="*/ 1949027 w 2581792"/>
                <a:gd name="connsiteY5" fmla="*/ 1265530 h 2428647"/>
                <a:gd name="connsiteX6" fmla="*/ 727389 w 2581792"/>
                <a:gd name="connsiteY6" fmla="*/ 1265530 h 2428647"/>
                <a:gd name="connsiteX7" fmla="*/ 58265 w 2581792"/>
                <a:gd name="connsiteY7" fmla="*/ 2428647 h 2428647"/>
                <a:gd name="connsiteX8" fmla="*/ 48615 w 2581792"/>
                <a:gd name="connsiteY8" fmla="*/ 683972 h 2428647"/>
                <a:gd name="connsiteX0" fmla="*/ 1 w 2533178"/>
                <a:gd name="connsiteY0" fmla="*/ 683972 h 2428647"/>
                <a:gd name="connsiteX1" fmla="*/ 678775 w 2533178"/>
                <a:gd name="connsiteY1" fmla="*/ 0 h 2428647"/>
                <a:gd name="connsiteX2" fmla="*/ 1900413 w 2533178"/>
                <a:gd name="connsiteY2" fmla="*/ 0 h 2428647"/>
                <a:gd name="connsiteX3" fmla="*/ 2533178 w 2533178"/>
                <a:gd name="connsiteY3" fmla="*/ 632765 h 2428647"/>
                <a:gd name="connsiteX4" fmla="*/ 2533178 w 2533178"/>
                <a:gd name="connsiteY4" fmla="*/ 632765 h 2428647"/>
                <a:gd name="connsiteX5" fmla="*/ 1900413 w 2533178"/>
                <a:gd name="connsiteY5" fmla="*/ 1265530 h 2428647"/>
                <a:gd name="connsiteX6" fmla="*/ 678775 w 2533178"/>
                <a:gd name="connsiteY6" fmla="*/ 1265530 h 2428647"/>
                <a:gd name="connsiteX7" fmla="*/ 9651 w 2533178"/>
                <a:gd name="connsiteY7" fmla="*/ 2428647 h 2428647"/>
                <a:gd name="connsiteX8" fmla="*/ 1 w 2533178"/>
                <a:gd name="connsiteY8" fmla="*/ 683972 h 2428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3178" h="2428647">
                  <a:moveTo>
                    <a:pt x="1" y="683972"/>
                  </a:moveTo>
                  <a:cubicBezTo>
                    <a:pt x="-216" y="191416"/>
                    <a:pt x="307363" y="21946"/>
                    <a:pt x="678775" y="0"/>
                  </a:cubicBezTo>
                  <a:lnTo>
                    <a:pt x="1900413" y="0"/>
                  </a:lnTo>
                  <a:cubicBezTo>
                    <a:pt x="2249879" y="0"/>
                    <a:pt x="2533178" y="283299"/>
                    <a:pt x="2533178" y="632765"/>
                  </a:cubicBezTo>
                  <a:lnTo>
                    <a:pt x="2533178" y="632765"/>
                  </a:lnTo>
                  <a:cubicBezTo>
                    <a:pt x="2533178" y="982231"/>
                    <a:pt x="2249879" y="1265530"/>
                    <a:pt x="1900413" y="1265530"/>
                  </a:cubicBezTo>
                  <a:lnTo>
                    <a:pt x="678775" y="1265530"/>
                  </a:lnTo>
                  <a:cubicBezTo>
                    <a:pt x="414818" y="1248461"/>
                    <a:pt x="58709" y="1751382"/>
                    <a:pt x="9651" y="2428647"/>
                  </a:cubicBezTo>
                  <a:cubicBezTo>
                    <a:pt x="2783" y="2250034"/>
                    <a:pt x="218" y="1176528"/>
                    <a:pt x="1" y="68397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27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solidFill>
                  <a:prstClr val="white"/>
                </a:solidFill>
              </a:endParaRPr>
            </a:p>
          </p:txBody>
        </p:sp>
        <p:sp>
          <p:nvSpPr>
            <p:cNvPr id="56" name="Rounded Rectangle 23"/>
            <p:cNvSpPr/>
            <p:nvPr/>
          </p:nvSpPr>
          <p:spPr>
            <a:xfrm flipH="1">
              <a:off x="2437304" y="2475891"/>
              <a:ext cx="2137870" cy="2174634"/>
            </a:xfrm>
            <a:custGeom>
              <a:avLst/>
              <a:gdLst>
                <a:gd name="connsiteX0" fmla="*/ 0 w 2487168"/>
                <a:gd name="connsiteY0" fmla="*/ 632765 h 1265530"/>
                <a:gd name="connsiteX1" fmla="*/ 632765 w 2487168"/>
                <a:gd name="connsiteY1" fmla="*/ 0 h 1265530"/>
                <a:gd name="connsiteX2" fmla="*/ 1854403 w 2487168"/>
                <a:gd name="connsiteY2" fmla="*/ 0 h 1265530"/>
                <a:gd name="connsiteX3" fmla="*/ 2487168 w 2487168"/>
                <a:gd name="connsiteY3" fmla="*/ 632765 h 1265530"/>
                <a:gd name="connsiteX4" fmla="*/ 2487168 w 2487168"/>
                <a:gd name="connsiteY4" fmla="*/ 632765 h 1265530"/>
                <a:gd name="connsiteX5" fmla="*/ 1854403 w 2487168"/>
                <a:gd name="connsiteY5" fmla="*/ 1265530 h 1265530"/>
                <a:gd name="connsiteX6" fmla="*/ 632765 w 2487168"/>
                <a:gd name="connsiteY6" fmla="*/ 1265530 h 1265530"/>
                <a:gd name="connsiteX7" fmla="*/ 0 w 2487168"/>
                <a:gd name="connsiteY7" fmla="*/ 632765 h 1265530"/>
                <a:gd name="connsiteX0" fmla="*/ 10095 w 2497263"/>
                <a:gd name="connsiteY0" fmla="*/ 632765 h 1265530"/>
                <a:gd name="connsiteX1" fmla="*/ 642860 w 2497263"/>
                <a:gd name="connsiteY1" fmla="*/ 0 h 1265530"/>
                <a:gd name="connsiteX2" fmla="*/ 1864498 w 2497263"/>
                <a:gd name="connsiteY2" fmla="*/ 0 h 1265530"/>
                <a:gd name="connsiteX3" fmla="*/ 2497263 w 2497263"/>
                <a:gd name="connsiteY3" fmla="*/ 632765 h 1265530"/>
                <a:gd name="connsiteX4" fmla="*/ 2497263 w 2497263"/>
                <a:gd name="connsiteY4" fmla="*/ 632765 h 1265530"/>
                <a:gd name="connsiteX5" fmla="*/ 1864498 w 2497263"/>
                <a:gd name="connsiteY5" fmla="*/ 1265530 h 1265530"/>
                <a:gd name="connsiteX6" fmla="*/ 642860 w 2497263"/>
                <a:gd name="connsiteY6" fmla="*/ 1265530 h 1265530"/>
                <a:gd name="connsiteX7" fmla="*/ 280757 w 2497263"/>
                <a:gd name="connsiteY7" fmla="*/ 1163117 h 1265530"/>
                <a:gd name="connsiteX8" fmla="*/ 10095 w 2497263"/>
                <a:gd name="connsiteY8" fmla="*/ 632765 h 1265530"/>
                <a:gd name="connsiteX0" fmla="*/ 34828 w 2521996"/>
                <a:gd name="connsiteY0" fmla="*/ 632765 h 2216530"/>
                <a:gd name="connsiteX1" fmla="*/ 667593 w 2521996"/>
                <a:gd name="connsiteY1" fmla="*/ 0 h 2216530"/>
                <a:gd name="connsiteX2" fmla="*/ 1889231 w 2521996"/>
                <a:gd name="connsiteY2" fmla="*/ 0 h 2216530"/>
                <a:gd name="connsiteX3" fmla="*/ 2521996 w 2521996"/>
                <a:gd name="connsiteY3" fmla="*/ 632765 h 2216530"/>
                <a:gd name="connsiteX4" fmla="*/ 2521996 w 2521996"/>
                <a:gd name="connsiteY4" fmla="*/ 632765 h 2216530"/>
                <a:gd name="connsiteX5" fmla="*/ 1889231 w 2521996"/>
                <a:gd name="connsiteY5" fmla="*/ 1265530 h 2216530"/>
                <a:gd name="connsiteX6" fmla="*/ 667593 w 2521996"/>
                <a:gd name="connsiteY6" fmla="*/ 1265530 h 2216530"/>
                <a:gd name="connsiteX7" fmla="*/ 144556 w 2521996"/>
                <a:gd name="connsiteY7" fmla="*/ 2209191 h 2216530"/>
                <a:gd name="connsiteX8" fmla="*/ 34828 w 2521996"/>
                <a:gd name="connsiteY8" fmla="*/ 632765 h 2216530"/>
                <a:gd name="connsiteX0" fmla="*/ 38917 w 2526085"/>
                <a:gd name="connsiteY0" fmla="*/ 632765 h 2420235"/>
                <a:gd name="connsiteX1" fmla="*/ 671682 w 2526085"/>
                <a:gd name="connsiteY1" fmla="*/ 0 h 2420235"/>
                <a:gd name="connsiteX2" fmla="*/ 1893320 w 2526085"/>
                <a:gd name="connsiteY2" fmla="*/ 0 h 2420235"/>
                <a:gd name="connsiteX3" fmla="*/ 2526085 w 2526085"/>
                <a:gd name="connsiteY3" fmla="*/ 632765 h 2420235"/>
                <a:gd name="connsiteX4" fmla="*/ 2526085 w 2526085"/>
                <a:gd name="connsiteY4" fmla="*/ 632765 h 2420235"/>
                <a:gd name="connsiteX5" fmla="*/ 1893320 w 2526085"/>
                <a:gd name="connsiteY5" fmla="*/ 1265530 h 2420235"/>
                <a:gd name="connsiteX6" fmla="*/ 671682 w 2526085"/>
                <a:gd name="connsiteY6" fmla="*/ 1265530 h 2420235"/>
                <a:gd name="connsiteX7" fmla="*/ 134015 w 2526085"/>
                <a:gd name="connsiteY7" fmla="*/ 2414017 h 2420235"/>
                <a:gd name="connsiteX8" fmla="*/ 38917 w 2526085"/>
                <a:gd name="connsiteY8" fmla="*/ 632765 h 2420235"/>
                <a:gd name="connsiteX0" fmla="*/ 38917 w 2526085"/>
                <a:gd name="connsiteY0" fmla="*/ 632765 h 2414017"/>
                <a:gd name="connsiteX1" fmla="*/ 671682 w 2526085"/>
                <a:gd name="connsiteY1" fmla="*/ 0 h 2414017"/>
                <a:gd name="connsiteX2" fmla="*/ 1893320 w 2526085"/>
                <a:gd name="connsiteY2" fmla="*/ 0 h 2414017"/>
                <a:gd name="connsiteX3" fmla="*/ 2526085 w 2526085"/>
                <a:gd name="connsiteY3" fmla="*/ 632765 h 2414017"/>
                <a:gd name="connsiteX4" fmla="*/ 2526085 w 2526085"/>
                <a:gd name="connsiteY4" fmla="*/ 632765 h 2414017"/>
                <a:gd name="connsiteX5" fmla="*/ 1893320 w 2526085"/>
                <a:gd name="connsiteY5" fmla="*/ 1265530 h 2414017"/>
                <a:gd name="connsiteX6" fmla="*/ 671682 w 2526085"/>
                <a:gd name="connsiteY6" fmla="*/ 1265530 h 2414017"/>
                <a:gd name="connsiteX7" fmla="*/ 134015 w 2526085"/>
                <a:gd name="connsiteY7" fmla="*/ 2414017 h 2414017"/>
                <a:gd name="connsiteX8" fmla="*/ 38917 w 2526085"/>
                <a:gd name="connsiteY8" fmla="*/ 632765 h 2414017"/>
                <a:gd name="connsiteX0" fmla="*/ 38917 w 2526085"/>
                <a:gd name="connsiteY0" fmla="*/ 632765 h 2414017"/>
                <a:gd name="connsiteX1" fmla="*/ 671682 w 2526085"/>
                <a:gd name="connsiteY1" fmla="*/ 0 h 2414017"/>
                <a:gd name="connsiteX2" fmla="*/ 1893320 w 2526085"/>
                <a:gd name="connsiteY2" fmla="*/ 0 h 2414017"/>
                <a:gd name="connsiteX3" fmla="*/ 2526085 w 2526085"/>
                <a:gd name="connsiteY3" fmla="*/ 632765 h 2414017"/>
                <a:gd name="connsiteX4" fmla="*/ 2526085 w 2526085"/>
                <a:gd name="connsiteY4" fmla="*/ 632765 h 2414017"/>
                <a:gd name="connsiteX5" fmla="*/ 1893320 w 2526085"/>
                <a:gd name="connsiteY5" fmla="*/ 1265530 h 2414017"/>
                <a:gd name="connsiteX6" fmla="*/ 671682 w 2526085"/>
                <a:gd name="connsiteY6" fmla="*/ 1265530 h 2414017"/>
                <a:gd name="connsiteX7" fmla="*/ 134015 w 2526085"/>
                <a:gd name="connsiteY7" fmla="*/ 2414017 h 2414017"/>
                <a:gd name="connsiteX8" fmla="*/ 38917 w 2526085"/>
                <a:gd name="connsiteY8" fmla="*/ 632765 h 2414017"/>
                <a:gd name="connsiteX0" fmla="*/ 38917 w 2526085"/>
                <a:gd name="connsiteY0" fmla="*/ 632765 h 2414017"/>
                <a:gd name="connsiteX1" fmla="*/ 671682 w 2526085"/>
                <a:gd name="connsiteY1" fmla="*/ 0 h 2414017"/>
                <a:gd name="connsiteX2" fmla="*/ 1893320 w 2526085"/>
                <a:gd name="connsiteY2" fmla="*/ 0 h 2414017"/>
                <a:gd name="connsiteX3" fmla="*/ 2526085 w 2526085"/>
                <a:gd name="connsiteY3" fmla="*/ 632765 h 2414017"/>
                <a:gd name="connsiteX4" fmla="*/ 2526085 w 2526085"/>
                <a:gd name="connsiteY4" fmla="*/ 632765 h 2414017"/>
                <a:gd name="connsiteX5" fmla="*/ 1893320 w 2526085"/>
                <a:gd name="connsiteY5" fmla="*/ 1265530 h 2414017"/>
                <a:gd name="connsiteX6" fmla="*/ 671682 w 2526085"/>
                <a:gd name="connsiteY6" fmla="*/ 1265530 h 2414017"/>
                <a:gd name="connsiteX7" fmla="*/ 134015 w 2526085"/>
                <a:gd name="connsiteY7" fmla="*/ 2414017 h 2414017"/>
                <a:gd name="connsiteX8" fmla="*/ 38917 w 2526085"/>
                <a:gd name="connsiteY8" fmla="*/ 632765 h 2414017"/>
                <a:gd name="connsiteX0" fmla="*/ 101443 w 2588611"/>
                <a:gd name="connsiteY0" fmla="*/ 632765 h 2428647"/>
                <a:gd name="connsiteX1" fmla="*/ 734208 w 2588611"/>
                <a:gd name="connsiteY1" fmla="*/ 0 h 2428647"/>
                <a:gd name="connsiteX2" fmla="*/ 1955846 w 2588611"/>
                <a:gd name="connsiteY2" fmla="*/ 0 h 2428647"/>
                <a:gd name="connsiteX3" fmla="*/ 2588611 w 2588611"/>
                <a:gd name="connsiteY3" fmla="*/ 632765 h 2428647"/>
                <a:gd name="connsiteX4" fmla="*/ 2588611 w 2588611"/>
                <a:gd name="connsiteY4" fmla="*/ 632765 h 2428647"/>
                <a:gd name="connsiteX5" fmla="*/ 1955846 w 2588611"/>
                <a:gd name="connsiteY5" fmla="*/ 1265530 h 2428647"/>
                <a:gd name="connsiteX6" fmla="*/ 734208 w 2588611"/>
                <a:gd name="connsiteY6" fmla="*/ 1265530 h 2428647"/>
                <a:gd name="connsiteX7" fmla="*/ 65084 w 2588611"/>
                <a:gd name="connsiteY7" fmla="*/ 2428647 h 2428647"/>
                <a:gd name="connsiteX8" fmla="*/ 101443 w 2588611"/>
                <a:gd name="connsiteY8" fmla="*/ 632765 h 2428647"/>
                <a:gd name="connsiteX0" fmla="*/ 63322 w 2550490"/>
                <a:gd name="connsiteY0" fmla="*/ 632765 h 2428647"/>
                <a:gd name="connsiteX1" fmla="*/ 696087 w 2550490"/>
                <a:gd name="connsiteY1" fmla="*/ 0 h 2428647"/>
                <a:gd name="connsiteX2" fmla="*/ 1917725 w 2550490"/>
                <a:gd name="connsiteY2" fmla="*/ 0 h 2428647"/>
                <a:gd name="connsiteX3" fmla="*/ 2550490 w 2550490"/>
                <a:gd name="connsiteY3" fmla="*/ 632765 h 2428647"/>
                <a:gd name="connsiteX4" fmla="*/ 2550490 w 2550490"/>
                <a:gd name="connsiteY4" fmla="*/ 632765 h 2428647"/>
                <a:gd name="connsiteX5" fmla="*/ 1917725 w 2550490"/>
                <a:gd name="connsiteY5" fmla="*/ 1265530 h 2428647"/>
                <a:gd name="connsiteX6" fmla="*/ 696087 w 2550490"/>
                <a:gd name="connsiteY6" fmla="*/ 1265530 h 2428647"/>
                <a:gd name="connsiteX7" fmla="*/ 26963 w 2550490"/>
                <a:gd name="connsiteY7" fmla="*/ 2428647 h 2428647"/>
                <a:gd name="connsiteX8" fmla="*/ 63322 w 2550490"/>
                <a:gd name="connsiteY8" fmla="*/ 632765 h 2428647"/>
                <a:gd name="connsiteX0" fmla="*/ 63322 w 2550490"/>
                <a:gd name="connsiteY0" fmla="*/ 632765 h 2428647"/>
                <a:gd name="connsiteX1" fmla="*/ 696087 w 2550490"/>
                <a:gd name="connsiteY1" fmla="*/ 0 h 2428647"/>
                <a:gd name="connsiteX2" fmla="*/ 1917725 w 2550490"/>
                <a:gd name="connsiteY2" fmla="*/ 0 h 2428647"/>
                <a:gd name="connsiteX3" fmla="*/ 2550490 w 2550490"/>
                <a:gd name="connsiteY3" fmla="*/ 632765 h 2428647"/>
                <a:gd name="connsiteX4" fmla="*/ 2550490 w 2550490"/>
                <a:gd name="connsiteY4" fmla="*/ 632765 h 2428647"/>
                <a:gd name="connsiteX5" fmla="*/ 1917725 w 2550490"/>
                <a:gd name="connsiteY5" fmla="*/ 1265530 h 2428647"/>
                <a:gd name="connsiteX6" fmla="*/ 696087 w 2550490"/>
                <a:gd name="connsiteY6" fmla="*/ 1265530 h 2428647"/>
                <a:gd name="connsiteX7" fmla="*/ 26963 w 2550490"/>
                <a:gd name="connsiteY7" fmla="*/ 2428647 h 2428647"/>
                <a:gd name="connsiteX8" fmla="*/ 63322 w 2550490"/>
                <a:gd name="connsiteY8" fmla="*/ 632765 h 2428647"/>
                <a:gd name="connsiteX0" fmla="*/ 48615 w 2581792"/>
                <a:gd name="connsiteY0" fmla="*/ 683972 h 2428647"/>
                <a:gd name="connsiteX1" fmla="*/ 727389 w 2581792"/>
                <a:gd name="connsiteY1" fmla="*/ 0 h 2428647"/>
                <a:gd name="connsiteX2" fmla="*/ 1949027 w 2581792"/>
                <a:gd name="connsiteY2" fmla="*/ 0 h 2428647"/>
                <a:gd name="connsiteX3" fmla="*/ 2581792 w 2581792"/>
                <a:gd name="connsiteY3" fmla="*/ 632765 h 2428647"/>
                <a:gd name="connsiteX4" fmla="*/ 2581792 w 2581792"/>
                <a:gd name="connsiteY4" fmla="*/ 632765 h 2428647"/>
                <a:gd name="connsiteX5" fmla="*/ 1949027 w 2581792"/>
                <a:gd name="connsiteY5" fmla="*/ 1265530 h 2428647"/>
                <a:gd name="connsiteX6" fmla="*/ 727389 w 2581792"/>
                <a:gd name="connsiteY6" fmla="*/ 1265530 h 2428647"/>
                <a:gd name="connsiteX7" fmla="*/ 58265 w 2581792"/>
                <a:gd name="connsiteY7" fmla="*/ 2428647 h 2428647"/>
                <a:gd name="connsiteX8" fmla="*/ 48615 w 2581792"/>
                <a:gd name="connsiteY8" fmla="*/ 683972 h 2428647"/>
                <a:gd name="connsiteX0" fmla="*/ 1 w 2533178"/>
                <a:gd name="connsiteY0" fmla="*/ 683972 h 2428647"/>
                <a:gd name="connsiteX1" fmla="*/ 678775 w 2533178"/>
                <a:gd name="connsiteY1" fmla="*/ 0 h 2428647"/>
                <a:gd name="connsiteX2" fmla="*/ 1900413 w 2533178"/>
                <a:gd name="connsiteY2" fmla="*/ 0 h 2428647"/>
                <a:gd name="connsiteX3" fmla="*/ 2533178 w 2533178"/>
                <a:gd name="connsiteY3" fmla="*/ 632765 h 2428647"/>
                <a:gd name="connsiteX4" fmla="*/ 2533178 w 2533178"/>
                <a:gd name="connsiteY4" fmla="*/ 632765 h 2428647"/>
                <a:gd name="connsiteX5" fmla="*/ 1900413 w 2533178"/>
                <a:gd name="connsiteY5" fmla="*/ 1265530 h 2428647"/>
                <a:gd name="connsiteX6" fmla="*/ 678775 w 2533178"/>
                <a:gd name="connsiteY6" fmla="*/ 1265530 h 2428647"/>
                <a:gd name="connsiteX7" fmla="*/ 9651 w 2533178"/>
                <a:gd name="connsiteY7" fmla="*/ 2428647 h 2428647"/>
                <a:gd name="connsiteX8" fmla="*/ 1 w 2533178"/>
                <a:gd name="connsiteY8" fmla="*/ 683972 h 2428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3178" h="2428647">
                  <a:moveTo>
                    <a:pt x="1" y="683972"/>
                  </a:moveTo>
                  <a:cubicBezTo>
                    <a:pt x="-216" y="191416"/>
                    <a:pt x="307363" y="21946"/>
                    <a:pt x="678775" y="0"/>
                  </a:cubicBezTo>
                  <a:lnTo>
                    <a:pt x="1900413" y="0"/>
                  </a:lnTo>
                  <a:cubicBezTo>
                    <a:pt x="2249879" y="0"/>
                    <a:pt x="2533178" y="283299"/>
                    <a:pt x="2533178" y="632765"/>
                  </a:cubicBezTo>
                  <a:lnTo>
                    <a:pt x="2533178" y="632765"/>
                  </a:lnTo>
                  <a:cubicBezTo>
                    <a:pt x="2533178" y="982231"/>
                    <a:pt x="2249879" y="1265530"/>
                    <a:pt x="1900413" y="1265530"/>
                  </a:cubicBezTo>
                  <a:lnTo>
                    <a:pt x="678775" y="1265530"/>
                  </a:lnTo>
                  <a:cubicBezTo>
                    <a:pt x="414818" y="1248461"/>
                    <a:pt x="58709" y="1751382"/>
                    <a:pt x="9651" y="2428647"/>
                  </a:cubicBezTo>
                  <a:cubicBezTo>
                    <a:pt x="2783" y="2250034"/>
                    <a:pt x="218" y="1176528"/>
                    <a:pt x="1" y="683972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smtClean="0">
                <a:solidFill>
                  <a:prstClr val="white"/>
                </a:solidFill>
              </a:endParaRPr>
            </a:p>
            <a:p>
              <a:pPr algn="ctr"/>
              <a:endParaRPr lang="en-US" sz="1200" dirty="0" err="1">
                <a:solidFill>
                  <a:prstClr val="white"/>
                </a:solidFill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2699450" y="2483466"/>
              <a:ext cx="1736157" cy="10713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2800" dirty="0" smtClean="0">
                  <a:solidFill>
                    <a:prstClr val="white"/>
                  </a:solidFill>
                </a:rPr>
                <a:t>Политика</a:t>
              </a:r>
              <a:endParaRPr lang="en-US" sz="2800" dirty="0" smtClean="0">
                <a:solidFill>
                  <a:prstClr val="white"/>
                </a:solidFill>
              </a:endParaRPr>
            </a:p>
            <a:p>
              <a:pPr algn="ctr"/>
              <a:r>
                <a:rPr lang="ru-RU" sz="2800" dirty="0">
                  <a:solidFill>
                    <a:prstClr val="white"/>
                  </a:solidFill>
                </a:rPr>
                <a:t>и</a:t>
              </a:r>
              <a:r>
                <a:rPr lang="en-US" sz="2800" dirty="0" smtClean="0">
                  <a:solidFill>
                    <a:prstClr val="white"/>
                  </a:solidFill>
                </a:rPr>
                <a:t> </a:t>
              </a:r>
            </a:p>
            <a:p>
              <a:pPr algn="ctr"/>
              <a:r>
                <a:rPr lang="ru-RU" sz="2800" dirty="0" smtClean="0">
                  <a:solidFill>
                    <a:prstClr val="white"/>
                  </a:solidFill>
                </a:rPr>
                <a:t>Нормативы</a:t>
              </a:r>
              <a:endParaRPr lang="en-US" sz="2800" dirty="0">
                <a:solidFill>
                  <a:prstClr val="white"/>
                </a:solidFill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2111099" y="3942633"/>
              <a:ext cx="2501404" cy="1470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2500"/>
                </a:lnSpc>
              </a:pPr>
              <a:r>
                <a:rPr lang="ru-RU" sz="2800" dirty="0" smtClean="0">
                  <a:solidFill>
                    <a:prstClr val="white"/>
                  </a:solidFill>
                </a:rPr>
                <a:t>Сотрудничество с заинтересованными </a:t>
              </a:r>
              <a:r>
                <a:rPr lang="ru-RU" sz="2800" dirty="0">
                  <a:solidFill>
                    <a:prstClr val="white"/>
                  </a:solidFill>
                </a:rPr>
                <a:t>сторонами</a:t>
              </a:r>
            </a:p>
            <a:p>
              <a:pPr algn="ctr">
                <a:lnSpc>
                  <a:spcPts val="2500"/>
                </a:lnSpc>
              </a:pPr>
              <a:r>
                <a:rPr lang="ru-RU" sz="2800" dirty="0" smtClean="0">
                  <a:solidFill>
                    <a:prstClr val="white"/>
                  </a:solidFill>
                </a:rPr>
                <a:t>и</a:t>
              </a:r>
              <a:endParaRPr lang="ru-RU" sz="2800" dirty="0">
                <a:solidFill>
                  <a:prstClr val="white"/>
                </a:solidFill>
              </a:endParaRPr>
            </a:p>
            <a:p>
              <a:pPr algn="ctr">
                <a:lnSpc>
                  <a:spcPts val="2500"/>
                </a:lnSpc>
              </a:pPr>
              <a:r>
                <a:rPr lang="ru-RU" sz="2800" dirty="0">
                  <a:solidFill>
                    <a:prstClr val="white"/>
                  </a:solidFill>
                </a:rPr>
                <a:t>Повышение осведомленности</a:t>
              </a:r>
              <a:endParaRPr lang="en-US" sz="2800" dirty="0">
                <a:solidFill>
                  <a:prstClr val="white"/>
                </a:solidFill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4697253" y="2419173"/>
              <a:ext cx="2352766" cy="1277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2600"/>
                </a:lnSpc>
              </a:pPr>
              <a:r>
                <a:rPr lang="ru-RU" sz="2600" dirty="0">
                  <a:solidFill>
                    <a:prstClr val="white"/>
                  </a:solidFill>
                </a:rPr>
                <a:t>Институциональное укрепление</a:t>
              </a:r>
            </a:p>
            <a:p>
              <a:pPr algn="ctr">
                <a:lnSpc>
                  <a:spcPts val="2600"/>
                </a:lnSpc>
              </a:pPr>
              <a:r>
                <a:rPr lang="ru-RU" sz="2600" dirty="0" smtClean="0">
                  <a:solidFill>
                    <a:prstClr val="white"/>
                  </a:solidFill>
                </a:rPr>
                <a:t>и</a:t>
              </a:r>
              <a:endParaRPr lang="ru-RU" sz="2600" dirty="0">
                <a:solidFill>
                  <a:prstClr val="white"/>
                </a:solidFill>
              </a:endParaRPr>
            </a:p>
            <a:p>
              <a:pPr algn="ctr">
                <a:lnSpc>
                  <a:spcPts val="2600"/>
                </a:lnSpc>
              </a:pPr>
              <a:r>
                <a:rPr lang="ru-RU" sz="2600" dirty="0">
                  <a:solidFill>
                    <a:prstClr val="white"/>
                  </a:solidFill>
                </a:rPr>
                <a:t>Наращивание потенциала</a:t>
              </a:r>
              <a:endParaRPr lang="en-US" sz="2600" dirty="0">
                <a:solidFill>
                  <a:prstClr val="white"/>
                </a:solidFill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674547" y="3928416"/>
              <a:ext cx="2291621" cy="12262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2600" dirty="0" smtClean="0">
                  <a:solidFill>
                    <a:prstClr val="white"/>
                  </a:solidFill>
                </a:rPr>
                <a:t>Механизмы </a:t>
              </a:r>
              <a:r>
                <a:rPr lang="ru-RU" sz="2600" dirty="0">
                  <a:solidFill>
                    <a:prstClr val="white"/>
                  </a:solidFill>
                </a:rPr>
                <a:t>финансирования </a:t>
              </a:r>
              <a:r>
                <a:rPr lang="ru-RU" sz="2600" dirty="0" smtClean="0">
                  <a:solidFill>
                    <a:prstClr val="white"/>
                  </a:solidFill>
                </a:rPr>
                <a:t>(Инновационные </a:t>
              </a:r>
              <a:r>
                <a:rPr lang="ru-RU" sz="2600" dirty="0">
                  <a:solidFill>
                    <a:prstClr val="white"/>
                  </a:solidFill>
                </a:rPr>
                <a:t>бизнес-модели)</a:t>
              </a:r>
              <a:endParaRPr lang="en-US" sz="2600" dirty="0">
                <a:solidFill>
                  <a:prstClr val="white"/>
                </a:solidFill>
              </a:endParaRPr>
            </a:p>
          </p:txBody>
        </p:sp>
      </p:grpSp>
      <p:sp>
        <p:nvSpPr>
          <p:cNvPr id="26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 smtClean="0">
                <a:solidFill>
                  <a:schemeClr val="bg1"/>
                </a:solidFill>
              </a:rPr>
              <a:t>Инструменты для максимизации климатических выгод</a:t>
            </a:r>
            <a:endParaRPr lang="en-IN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5629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5827594" y="0"/>
            <a:ext cx="6364406" cy="6857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5827594" cy="6858000"/>
          </a:xfrm>
          <a:prstGeom prst="rect">
            <a:avLst/>
          </a:prstGeom>
          <a:solidFill>
            <a:srgbClr val="B6D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TextBox 4"/>
          <p:cNvSpPr txBox="1"/>
          <p:nvPr/>
        </p:nvSpPr>
        <p:spPr>
          <a:xfrm>
            <a:off x="425038" y="2274835"/>
            <a:ext cx="497751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latin typeface="+mj-lt"/>
              </a:rPr>
              <a:t>Политические рычаги для </a:t>
            </a:r>
            <a:r>
              <a:rPr lang="ru-RU" sz="3600" b="1" dirty="0" smtClean="0">
                <a:latin typeface="+mj-lt"/>
              </a:rPr>
              <a:t>внедрения эффективности</a:t>
            </a:r>
            <a:endParaRPr lang="id-ID" sz="3600" b="1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64608" y="817938"/>
            <a:ext cx="7175480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 smtClean="0"/>
              <a:t>→ </a:t>
            </a:r>
            <a:r>
              <a:rPr lang="ru-RU" sz="2400" dirty="0"/>
              <a:t>Минимальные стандарты производительности для </a:t>
            </a:r>
            <a:r>
              <a:rPr lang="ru-RU" sz="2400" dirty="0" smtClean="0"/>
              <a:t>установок</a:t>
            </a:r>
          </a:p>
          <a:p>
            <a:pPr lvl="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 smtClean="0"/>
              <a:t>→ </a:t>
            </a:r>
            <a:r>
              <a:rPr lang="ru-RU" sz="2400" dirty="0"/>
              <a:t>Стандарты экономии топлива для транспортных </a:t>
            </a:r>
            <a:r>
              <a:rPr lang="ru-RU" sz="2400" dirty="0" smtClean="0"/>
              <a:t>средств</a:t>
            </a:r>
          </a:p>
          <a:p>
            <a:pPr lvl="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 smtClean="0"/>
              <a:t>→ </a:t>
            </a:r>
            <a:r>
              <a:rPr lang="ru-RU" sz="2400" dirty="0"/>
              <a:t>Инструменты на основе строительных норм и </a:t>
            </a:r>
            <a:r>
              <a:rPr lang="ru-RU" sz="2400" dirty="0" smtClean="0"/>
              <a:t>правил</a:t>
            </a:r>
          </a:p>
          <a:p>
            <a:pPr lvl="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 smtClean="0"/>
              <a:t>→ </a:t>
            </a:r>
            <a:r>
              <a:rPr lang="ru-RU" sz="2400" dirty="0" smtClean="0">
                <a:sym typeface="Wingdings"/>
              </a:rPr>
              <a:t>Маркировка </a:t>
            </a:r>
            <a:r>
              <a:rPr lang="en-US" sz="2400" dirty="0" smtClean="0">
                <a:sym typeface="Wingdings"/>
              </a:rPr>
              <a:t>(</a:t>
            </a:r>
            <a:r>
              <a:rPr lang="ru-RU" sz="2400" dirty="0" smtClean="0">
                <a:sym typeface="Wingdings"/>
              </a:rPr>
              <a:t>классы энергоэффективности</a:t>
            </a:r>
            <a:r>
              <a:rPr lang="en-US" sz="2400" dirty="0" smtClean="0">
                <a:sym typeface="Wingdings"/>
              </a:rPr>
              <a:t>)</a:t>
            </a:r>
          </a:p>
          <a:p>
            <a:pPr lvl="2">
              <a:defRPr/>
            </a:pPr>
            <a:r>
              <a:rPr lang="en-US" sz="2400" dirty="0" smtClean="0"/>
              <a:t>→ </a:t>
            </a:r>
            <a:r>
              <a:rPr lang="ru-RU" sz="2400" dirty="0">
                <a:sym typeface="Wingdings"/>
              </a:rPr>
              <a:t>Стимулы для поощрения эффективности </a:t>
            </a:r>
            <a:r>
              <a:rPr lang="en-US" sz="2400" dirty="0" smtClean="0">
                <a:sym typeface="Wingdings"/>
              </a:rPr>
              <a:t>(</a:t>
            </a:r>
            <a:r>
              <a:rPr lang="ru-RU" i="1" dirty="0"/>
              <a:t>национальные стимулы для </a:t>
            </a:r>
            <a:r>
              <a:rPr lang="ru-RU" i="1" dirty="0" smtClean="0"/>
              <a:t> энергетического аудита</a:t>
            </a:r>
            <a:r>
              <a:rPr lang="en-US" sz="2400" dirty="0" smtClean="0"/>
              <a:t>)</a:t>
            </a:r>
            <a:endParaRPr lang="en-US" sz="2400" dirty="0" smtClean="0">
              <a:sym typeface="Wingdings"/>
            </a:endParaRPr>
          </a:p>
          <a:p>
            <a:pPr lvl="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 smtClean="0"/>
              <a:t>→ </a:t>
            </a:r>
            <a:r>
              <a:rPr lang="ru-RU" sz="2400" dirty="0" smtClean="0">
                <a:sym typeface="Wingdings"/>
              </a:rPr>
              <a:t>Исследования и демонстрационные проекты</a:t>
            </a:r>
            <a:endParaRPr lang="en-US" sz="2400" dirty="0" smtClean="0">
              <a:sym typeface="Wingdings"/>
            </a:endParaRPr>
          </a:p>
          <a:p>
            <a:pPr lvl="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/>
              <a:t>→ </a:t>
            </a:r>
            <a:r>
              <a:rPr lang="ru-RU" sz="2400" dirty="0">
                <a:sym typeface="Wingdings"/>
              </a:rPr>
              <a:t>Меры по наращиванию потенциала для </a:t>
            </a:r>
            <a:r>
              <a:rPr lang="ru-RU" sz="2400" dirty="0" smtClean="0">
                <a:sym typeface="Wingdings"/>
              </a:rPr>
              <a:t>улучшения рынков сбыта</a:t>
            </a:r>
          </a:p>
          <a:p>
            <a:pPr lvl="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 smtClean="0"/>
              <a:t>→ </a:t>
            </a:r>
            <a:r>
              <a:rPr lang="ru-RU" sz="2400" dirty="0">
                <a:sym typeface="Wingdings"/>
              </a:rPr>
              <a:t>Подготовка специалистов и обмен информацией</a:t>
            </a:r>
            <a:endParaRPr lang="en-US" sz="2400" dirty="0">
              <a:sym typeface="Wingding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13526" y="2195203"/>
            <a:ext cx="1090612" cy="984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62576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15004" y="5"/>
            <a:ext cx="8776997" cy="6857995"/>
          </a:xfrm>
          <a:prstGeom prst="rect">
            <a:avLst/>
          </a:prstGeom>
          <a:solidFill>
            <a:srgbClr val="B6D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3834883" cy="6857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332672" y="2651425"/>
            <a:ext cx="4241248" cy="1068168"/>
          </a:xfrm>
        </p:spPr>
        <p:txBody>
          <a:bodyPr/>
          <a:lstStyle/>
          <a:p>
            <a:pPr algn="ctr"/>
            <a:r>
              <a:rPr lang="en-US" sz="3600" b="1" dirty="0" smtClean="0"/>
              <a:t> - </a:t>
            </a:r>
            <a:r>
              <a:rPr lang="ru-RU" sz="3600" b="1" dirty="0" smtClean="0"/>
              <a:t>Нормативы</a:t>
            </a:r>
            <a:r>
              <a:rPr lang="en-US" sz="3600" b="1" dirty="0" smtClean="0"/>
              <a:t>-</a:t>
            </a:r>
            <a:endParaRPr lang="mk-MK" sz="3600" b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834882" y="296712"/>
            <a:ext cx="8357118" cy="6323543"/>
          </a:xfrm>
        </p:spPr>
        <p:txBody>
          <a:bodyPr>
            <a:normAutofit fontScale="70000" lnSpcReduction="20000"/>
          </a:bodyPr>
          <a:lstStyle/>
          <a:p>
            <a:pPr>
              <a:buNone/>
            </a:pPr>
            <a:r>
              <a:rPr lang="en-US" dirty="0" smtClean="0"/>
              <a:t>→ </a:t>
            </a:r>
            <a:r>
              <a:rPr lang="ru-RU" dirty="0"/>
              <a:t>Правительства устанавливают </a:t>
            </a:r>
            <a:r>
              <a:rPr lang="ru-RU" dirty="0" smtClean="0"/>
              <a:t>нормативы по энергоэффективности</a:t>
            </a:r>
          </a:p>
          <a:p>
            <a:pPr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→ </a:t>
            </a:r>
            <a:r>
              <a:rPr lang="ru-RU" dirty="0"/>
              <a:t>Более </a:t>
            </a:r>
            <a:r>
              <a:rPr lang="ru-RU" b="1" dirty="0"/>
              <a:t>80 стран </a:t>
            </a:r>
            <a:r>
              <a:rPr lang="ru-RU" dirty="0"/>
              <a:t>ввели национальные стандарты энергоэффективности и программы маркировки с 1970-х </a:t>
            </a:r>
            <a:r>
              <a:rPr lang="ru-RU" dirty="0" smtClean="0"/>
              <a:t>годов</a:t>
            </a:r>
          </a:p>
          <a:p>
            <a:pPr marL="0" indent="0">
              <a:buNone/>
            </a:pPr>
            <a:endParaRPr lang="en-US" dirty="0" smtClean="0"/>
          </a:p>
          <a:p>
            <a:pPr>
              <a:buNone/>
            </a:pPr>
            <a:r>
              <a:rPr lang="en-US" dirty="0" smtClean="0"/>
              <a:t>→</a:t>
            </a:r>
            <a:r>
              <a:rPr lang="ru-RU" dirty="0"/>
              <a:t>Климатическое и энергетическое регулирование </a:t>
            </a:r>
            <a:r>
              <a:rPr lang="ru-RU" dirty="0" smtClean="0"/>
              <a:t>ЕС</a:t>
            </a:r>
          </a:p>
          <a:p>
            <a:r>
              <a:rPr lang="ru-RU" b="1" i="1" dirty="0" smtClean="0"/>
              <a:t>Регулирование фторированных газов </a:t>
            </a:r>
            <a:r>
              <a:rPr lang="en-US" b="1" i="1" dirty="0" smtClean="0"/>
              <a:t>(EU) No 517/2014</a:t>
            </a:r>
          </a:p>
          <a:p>
            <a:r>
              <a:rPr lang="ru-RU" b="1" i="1" dirty="0" smtClean="0"/>
              <a:t>Директива по </a:t>
            </a:r>
            <a:r>
              <a:rPr lang="ru-RU" b="1" i="1" dirty="0" err="1" smtClean="0"/>
              <a:t>экодизайну</a:t>
            </a:r>
            <a:r>
              <a:rPr lang="ru-RU" b="1" i="1" dirty="0" smtClean="0"/>
              <a:t> </a:t>
            </a:r>
            <a:r>
              <a:rPr lang="en-US" b="1" i="1" dirty="0" smtClean="0"/>
              <a:t>2009/125/EC (</a:t>
            </a:r>
            <a:r>
              <a:rPr lang="ru-RU" b="1" i="1" dirty="0" smtClean="0">
                <a:solidFill>
                  <a:schemeClr val="accent2">
                    <a:lumMod val="75000"/>
                  </a:schemeClr>
                </a:solidFill>
              </a:rPr>
              <a:t>стимулирование</a:t>
            </a:r>
            <a:r>
              <a:rPr lang="en-US" b="1" i="1" dirty="0" smtClean="0"/>
              <a:t>)</a:t>
            </a:r>
          </a:p>
          <a:p>
            <a:r>
              <a:rPr lang="ru-RU" b="1" i="1" dirty="0" smtClean="0"/>
              <a:t>Регулирование энергетической маркировки </a:t>
            </a:r>
            <a:r>
              <a:rPr lang="en-US" b="1" i="1" dirty="0" smtClean="0"/>
              <a:t>(EU</a:t>
            </a:r>
            <a:r>
              <a:rPr lang="en-US" b="1" i="1" dirty="0"/>
              <a:t>) </a:t>
            </a:r>
            <a:r>
              <a:rPr lang="en-US" b="1" i="1" dirty="0" smtClean="0"/>
              <a:t>2017/1369 (</a:t>
            </a:r>
            <a:r>
              <a:rPr lang="ru-RU" b="1" i="1" dirty="0" smtClean="0">
                <a:solidFill>
                  <a:schemeClr val="accent2">
                    <a:lumMod val="75000"/>
                  </a:schemeClr>
                </a:solidFill>
              </a:rPr>
              <a:t>спрос на рынке</a:t>
            </a:r>
            <a:r>
              <a:rPr lang="en-US" b="1" i="1" dirty="0" smtClean="0"/>
              <a:t>)</a:t>
            </a:r>
            <a:endParaRPr lang="en-US" b="1" i="1" dirty="0">
              <a:solidFill>
                <a:schemeClr val="accent2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US" dirty="0" smtClean="0"/>
          </a:p>
          <a:p>
            <a:pPr>
              <a:buNone/>
            </a:pPr>
            <a:r>
              <a:rPr lang="en-US" dirty="0" smtClean="0"/>
              <a:t>→ </a:t>
            </a:r>
            <a:r>
              <a:rPr lang="ru-RU" sz="2900" dirty="0" smtClean="0"/>
              <a:t>В </a:t>
            </a:r>
            <a:r>
              <a:rPr lang="ru-RU" sz="2900" dirty="0"/>
              <a:t>зависимости от продукта это может включать: (</a:t>
            </a:r>
            <a:r>
              <a:rPr lang="ru-RU" sz="2900" b="1" dirty="0"/>
              <a:t>минимальные стандарты энергетической эффективности</a:t>
            </a:r>
            <a:r>
              <a:rPr lang="ru-RU" sz="2900" dirty="0"/>
              <a:t> - MEPS, при рассмотрении хладагентов), </a:t>
            </a:r>
            <a:r>
              <a:rPr lang="ru-RU" sz="2900" b="1" dirty="0"/>
              <a:t>энергетическую </a:t>
            </a:r>
            <a:r>
              <a:rPr lang="ru-RU" sz="2900" b="1" dirty="0" smtClean="0"/>
              <a:t>маркировку, </a:t>
            </a:r>
            <a:r>
              <a:rPr lang="ru-RU" sz="2900" b="1" dirty="0"/>
              <a:t>строительные нормы и правила и строительные </a:t>
            </a:r>
            <a:r>
              <a:rPr lang="ru-RU" sz="2900" b="1" dirty="0" smtClean="0"/>
              <a:t>маркировки</a:t>
            </a:r>
          </a:p>
          <a:p>
            <a:pPr>
              <a:buNone/>
            </a:pPr>
            <a:endParaRPr lang="en-US" sz="2900" b="1" dirty="0"/>
          </a:p>
          <a:p>
            <a:pPr marL="0" indent="0">
              <a:buNone/>
            </a:pPr>
            <a:r>
              <a:rPr lang="en-US" dirty="0"/>
              <a:t>→ </a:t>
            </a:r>
            <a:r>
              <a:rPr lang="ru-RU" b="1" dirty="0" smtClean="0"/>
              <a:t>Повышение энергоэффективности </a:t>
            </a:r>
            <a:r>
              <a:rPr lang="ru-RU" b="1" dirty="0" smtClean="0">
                <a:solidFill>
                  <a:srgbClr val="FF0000"/>
                </a:solidFill>
              </a:rPr>
              <a:t>существующих и новых оборудований ХОКВТН</a:t>
            </a:r>
            <a:r>
              <a:rPr lang="ru-RU" b="1" dirty="0" smtClean="0"/>
              <a:t>! Постепенное снижение потребления ГФУ ведет к </a:t>
            </a:r>
            <a:r>
              <a:rPr lang="ru-RU" b="1" dirty="0" smtClean="0">
                <a:solidFill>
                  <a:srgbClr val="FF0000"/>
                </a:solidFill>
              </a:rPr>
              <a:t>применению хладагентов с низким ПГП</a:t>
            </a:r>
            <a:endParaRPr lang="en-US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dirty="0"/>
              <a:t>→ </a:t>
            </a:r>
            <a:r>
              <a:rPr lang="ru-RU" b="1" dirty="0" smtClean="0"/>
              <a:t>Важно следить </a:t>
            </a:r>
            <a:r>
              <a:rPr lang="ru-RU" b="1" dirty="0"/>
              <a:t>за </a:t>
            </a:r>
            <a:r>
              <a:rPr lang="ru-RU" b="1" dirty="0" smtClean="0"/>
              <a:t>рынком и проводить  </a:t>
            </a:r>
            <a:r>
              <a:rPr lang="ru-RU" b="1" dirty="0"/>
              <a:t>регулярные </a:t>
            </a:r>
            <a:r>
              <a:rPr lang="ru-RU" b="1" dirty="0" smtClean="0"/>
              <a:t>обзоры!</a:t>
            </a:r>
            <a:endParaRPr lang="en-US" b="1" dirty="0" smtClean="0"/>
          </a:p>
          <a:p>
            <a:pPr>
              <a:buNone/>
            </a:pPr>
            <a:endParaRPr lang="en-US" b="1" dirty="0" smtClean="0"/>
          </a:p>
          <a:p>
            <a:pPr marL="0" indent="0">
              <a:buNone/>
            </a:pPr>
            <a:endParaRPr lang="en-US" b="1" dirty="0" smtClean="0"/>
          </a:p>
        </p:txBody>
      </p:sp>
      <p:sp>
        <p:nvSpPr>
          <p:cNvPr id="7" name="Rectangle 6"/>
          <p:cNvSpPr/>
          <p:nvPr/>
        </p:nvSpPr>
        <p:spPr>
          <a:xfrm>
            <a:off x="222263" y="2397716"/>
            <a:ext cx="1090612" cy="9842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93770" y="0"/>
            <a:ext cx="7798230" cy="6857995"/>
          </a:xfrm>
          <a:prstGeom prst="rect">
            <a:avLst/>
          </a:prstGeom>
          <a:solidFill>
            <a:srgbClr val="B6D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4881966" cy="6857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" y="2627877"/>
            <a:ext cx="4271850" cy="1325563"/>
          </a:xfrm>
        </p:spPr>
        <p:txBody>
          <a:bodyPr>
            <a:noAutofit/>
          </a:bodyPr>
          <a:lstStyle/>
          <a:p>
            <a:pPr algn="ctr"/>
            <a:r>
              <a:rPr lang="ru-RU" sz="4000" b="1" dirty="0" smtClean="0"/>
              <a:t>Движение вперед</a:t>
            </a:r>
            <a:r>
              <a:rPr lang="en-US" sz="4000" b="1" dirty="0" smtClean="0"/>
              <a:t/>
            </a:r>
            <a:br>
              <a:rPr lang="en-US" sz="4000" b="1" dirty="0" smtClean="0"/>
            </a:br>
            <a:r>
              <a:rPr lang="ru-RU" sz="4000" b="1" dirty="0" smtClean="0"/>
              <a:t>и</a:t>
            </a:r>
            <a:r>
              <a:rPr lang="en-US" sz="4000" b="1" dirty="0" smtClean="0"/>
              <a:t/>
            </a:r>
            <a:br>
              <a:rPr lang="en-US" sz="4000" b="1" dirty="0" smtClean="0"/>
            </a:br>
            <a:r>
              <a:rPr lang="ru-RU" sz="4000" b="1" dirty="0" smtClean="0"/>
              <a:t>следующие шаги</a:t>
            </a:r>
            <a:r>
              <a:rPr lang="en-US" sz="4000" b="1" dirty="0" smtClean="0"/>
              <a:t>…</a:t>
            </a:r>
            <a:endParaRPr lang="mk-MK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56788" y="568033"/>
            <a:ext cx="6216112" cy="5777346"/>
          </a:xfrm>
        </p:spPr>
        <p:txBody>
          <a:bodyPr>
            <a:normAutofit fontScale="85000" lnSpcReduction="20000"/>
          </a:bodyPr>
          <a:lstStyle/>
          <a:p>
            <a:r>
              <a:rPr lang="ru-RU" dirty="0" smtClean="0"/>
              <a:t>ПКР должно </a:t>
            </a:r>
            <a:r>
              <a:rPr lang="ru-RU" dirty="0"/>
              <a:t>иметь доступ к надежным национальным данным, </a:t>
            </a:r>
            <a:r>
              <a:rPr lang="ru-RU" dirty="0" smtClean="0"/>
              <a:t>информации о международных процессах </a:t>
            </a:r>
            <a:r>
              <a:rPr lang="ru-RU" dirty="0"/>
              <a:t>и быть в курсе последних научно-технических данных о «будущих хладагентах</a:t>
            </a:r>
            <a:r>
              <a:rPr lang="ru-RU" dirty="0" smtClean="0"/>
              <a:t>»</a:t>
            </a:r>
          </a:p>
          <a:p>
            <a:r>
              <a:rPr lang="ru-RU" dirty="0" smtClean="0"/>
              <a:t>Продвижение энергоэффективности </a:t>
            </a:r>
            <a:r>
              <a:rPr lang="ru-RU" dirty="0"/>
              <a:t>параллельно с альтернативами с низким </a:t>
            </a:r>
            <a:r>
              <a:rPr lang="ru-RU" dirty="0" smtClean="0"/>
              <a:t>ПГП</a:t>
            </a:r>
          </a:p>
          <a:p>
            <a:r>
              <a:rPr lang="ru-RU" dirty="0"/>
              <a:t>Рассмотреть предложения о технической </a:t>
            </a:r>
            <a:r>
              <a:rPr lang="ru-RU" dirty="0" smtClean="0"/>
              <a:t>помощи/финансировании поддержки </a:t>
            </a:r>
            <a:r>
              <a:rPr lang="ru-RU" dirty="0"/>
              <a:t>разработки или совершенствования политики и программ</a:t>
            </a:r>
            <a:r>
              <a:rPr lang="ru-RU" dirty="0" smtClean="0"/>
              <a:t>.</a:t>
            </a:r>
          </a:p>
          <a:p>
            <a:r>
              <a:rPr lang="ru-RU" dirty="0"/>
              <a:t>Возможное </a:t>
            </a:r>
            <a:r>
              <a:rPr lang="ru-RU" dirty="0" smtClean="0"/>
              <a:t>двустороннее/региональное </a:t>
            </a:r>
            <a:r>
              <a:rPr lang="ru-RU" dirty="0"/>
              <a:t>сотрудничество </a:t>
            </a:r>
            <a:r>
              <a:rPr lang="ru-RU" dirty="0" smtClean="0"/>
              <a:t>в области мин</a:t>
            </a:r>
            <a:r>
              <a:rPr lang="ru-RU" dirty="0"/>
              <a:t>. </a:t>
            </a:r>
            <a:r>
              <a:rPr lang="ru-RU" dirty="0" smtClean="0"/>
              <a:t>стандартов </a:t>
            </a:r>
            <a:r>
              <a:rPr lang="ru-RU" dirty="0"/>
              <a:t>энергоэффективности, </a:t>
            </a:r>
            <a:r>
              <a:rPr lang="ru-RU" dirty="0" smtClean="0"/>
              <a:t>маркировки </a:t>
            </a:r>
            <a:r>
              <a:rPr lang="ru-RU" dirty="0"/>
              <a:t>продукции, </a:t>
            </a:r>
            <a:r>
              <a:rPr lang="ru-RU" dirty="0" smtClean="0"/>
              <a:t>тестирования </a:t>
            </a:r>
            <a:r>
              <a:rPr lang="ru-RU" dirty="0"/>
              <a:t>продукции и т. д</a:t>
            </a:r>
            <a:r>
              <a:rPr lang="ru-RU" dirty="0" smtClean="0"/>
              <a:t>.</a:t>
            </a:r>
          </a:p>
          <a:p>
            <a:r>
              <a:rPr lang="ru-RU" dirty="0"/>
              <a:t>Рассмотреть вопрос о принятии </a:t>
            </a:r>
            <a:r>
              <a:rPr lang="ru-RU" dirty="0" smtClean="0"/>
              <a:t>нормативов для бытовых кондиционеров </a:t>
            </a:r>
            <a:r>
              <a:rPr lang="ru-RU" dirty="0"/>
              <a:t>и холодильников.</a:t>
            </a:r>
            <a:endParaRPr lang="mk-MK" dirty="0"/>
          </a:p>
        </p:txBody>
      </p:sp>
      <p:sp>
        <p:nvSpPr>
          <p:cNvPr id="6" name="Rectangle 5"/>
          <p:cNvSpPr/>
          <p:nvPr/>
        </p:nvSpPr>
        <p:spPr>
          <a:xfrm>
            <a:off x="1731319" y="2325621"/>
            <a:ext cx="1090612" cy="9842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952068" y="0"/>
            <a:ext cx="8239932" cy="6857995"/>
          </a:xfrm>
          <a:prstGeom prst="rect">
            <a:avLst/>
          </a:prstGeom>
          <a:solidFill>
            <a:srgbClr val="B6D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3952068" cy="6857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068" y="849230"/>
            <a:ext cx="8099155" cy="5690115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ru-RU" sz="4000" u="sng" dirty="0"/>
              <a:t>Ключевые заинтересованные стороны </a:t>
            </a:r>
            <a:r>
              <a:rPr lang="ru-RU" sz="4000" dirty="0"/>
              <a:t>в секторе </a:t>
            </a:r>
            <a:r>
              <a:rPr lang="ru-RU" sz="4000" dirty="0" smtClean="0"/>
              <a:t>ХОКВТН, </a:t>
            </a:r>
            <a:r>
              <a:rPr lang="ru-RU" sz="4000" dirty="0"/>
              <a:t>которые должны знать </a:t>
            </a:r>
            <a:r>
              <a:rPr lang="ru-RU" sz="4000" dirty="0" smtClean="0"/>
              <a:t>об энергоэффективности:</a:t>
            </a:r>
          </a:p>
          <a:p>
            <a:r>
              <a:rPr lang="ru-RU" sz="4000" dirty="0" smtClean="0"/>
              <a:t>Государственные </a:t>
            </a:r>
            <a:r>
              <a:rPr lang="ru-RU" sz="4000" dirty="0"/>
              <a:t>органы</a:t>
            </a:r>
            <a:endParaRPr lang="en-US" sz="4000" dirty="0" smtClean="0"/>
          </a:p>
          <a:p>
            <a:r>
              <a:rPr lang="ru-RU" sz="4000" dirty="0"/>
              <a:t>Местные производители </a:t>
            </a:r>
            <a:r>
              <a:rPr lang="ru-RU" sz="4000" dirty="0" smtClean="0"/>
              <a:t>ХОКВТН оборудования/ </a:t>
            </a:r>
            <a:r>
              <a:rPr lang="ru-RU" sz="4000" dirty="0"/>
              <a:t>продукции, дилеры и </a:t>
            </a:r>
            <a:r>
              <a:rPr lang="ru-RU" sz="4000" dirty="0" smtClean="0"/>
              <a:t>техники</a:t>
            </a:r>
          </a:p>
          <a:p>
            <a:r>
              <a:rPr lang="ru-RU" sz="4000" dirty="0"/>
              <a:t>Национальные, региональные и международные организации по </a:t>
            </a:r>
            <a:r>
              <a:rPr lang="ru-RU" sz="4000" dirty="0" smtClean="0"/>
              <a:t>стандартизации</a:t>
            </a:r>
          </a:p>
          <a:p>
            <a:r>
              <a:rPr lang="ru-RU" sz="4000" dirty="0"/>
              <a:t>Местные </a:t>
            </a:r>
            <a:r>
              <a:rPr lang="ru-RU" sz="4000" dirty="0" smtClean="0"/>
              <a:t>энергокомпании</a:t>
            </a:r>
          </a:p>
          <a:p>
            <a:r>
              <a:rPr lang="ru-RU" sz="4000" dirty="0"/>
              <a:t>Розничная </a:t>
            </a:r>
            <a:r>
              <a:rPr lang="ru-RU" sz="4000" dirty="0" smtClean="0"/>
              <a:t>торговля</a:t>
            </a:r>
          </a:p>
          <a:p>
            <a:r>
              <a:rPr lang="ru-RU" sz="4000" dirty="0"/>
              <a:t>Конечные пользователи, </a:t>
            </a:r>
            <a:r>
              <a:rPr lang="ru-RU" sz="4000" dirty="0" smtClean="0"/>
              <a:t>предприятия</a:t>
            </a:r>
          </a:p>
          <a:p>
            <a:r>
              <a:rPr lang="ru-RU" sz="4000" dirty="0"/>
              <a:t>Банковские ассоциации и другие финансовые </a:t>
            </a:r>
            <a:r>
              <a:rPr lang="ru-RU" sz="4000" dirty="0" smtClean="0"/>
              <a:t>организации</a:t>
            </a:r>
          </a:p>
          <a:p>
            <a:pPr fontAlgn="t"/>
            <a:r>
              <a:rPr lang="ru-RU" sz="4000" i="1" dirty="0" smtClean="0"/>
              <a:t>Другие</a:t>
            </a:r>
            <a:r>
              <a:rPr lang="en-US" sz="4000" i="1" dirty="0" smtClean="0"/>
              <a:t>:</a:t>
            </a:r>
            <a:r>
              <a:rPr lang="ru-RU" sz="4000" i="1" dirty="0" smtClean="0">
                <a:solidFill>
                  <a:schemeClr val="accent1">
                    <a:lumMod val="75000"/>
                  </a:schemeClr>
                </a:solidFill>
              </a:rPr>
              <a:t>вовлекать </a:t>
            </a:r>
            <a:r>
              <a:rPr lang="ru-RU" sz="4000" i="1" dirty="0">
                <a:solidFill>
                  <a:schemeClr val="accent1">
                    <a:lumMod val="75000"/>
                  </a:schemeClr>
                </a:solidFill>
              </a:rPr>
              <a:t>заинтересованные стороны в области </a:t>
            </a:r>
            <a:r>
              <a:rPr lang="ru-RU" sz="4000" i="1" dirty="0" smtClean="0">
                <a:solidFill>
                  <a:schemeClr val="accent1">
                    <a:lumMod val="75000"/>
                  </a:schemeClr>
                </a:solidFill>
              </a:rPr>
              <a:t>энергетики/энергоэффективности/ климата </a:t>
            </a:r>
            <a:r>
              <a:rPr lang="ru-RU" sz="4000" i="1" dirty="0">
                <a:solidFill>
                  <a:schemeClr val="accent1">
                    <a:lumMod val="75000"/>
                  </a:schemeClr>
                </a:solidFill>
              </a:rPr>
              <a:t>в </a:t>
            </a:r>
            <a:r>
              <a:rPr lang="ru-RU" sz="4000" i="1" dirty="0" smtClean="0">
                <a:solidFill>
                  <a:schemeClr val="accent1">
                    <a:lumMod val="75000"/>
                  </a:schemeClr>
                </a:solidFill>
              </a:rPr>
              <a:t>стимулирующие мероприятия</a:t>
            </a:r>
            <a:endParaRPr lang="ru-RU" sz="4000" i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4000" i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>
              <a:buNone/>
            </a:pPr>
            <a:endParaRPr lang="en-US" i="1" dirty="0" smtClean="0"/>
          </a:p>
          <a:p>
            <a:endParaRPr lang="mk-MK" dirty="0"/>
          </a:p>
        </p:txBody>
      </p:sp>
      <p:sp>
        <p:nvSpPr>
          <p:cNvPr id="4" name="Title 1"/>
          <p:cNvSpPr txBox="1">
            <a:spLocks noGrp="1"/>
          </p:cNvSpPr>
          <p:nvPr>
            <p:ph type="title"/>
          </p:nvPr>
        </p:nvSpPr>
        <p:spPr>
          <a:xfrm>
            <a:off x="249499" y="1470975"/>
            <a:ext cx="3419838" cy="3671883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/>
              <a:t>Участие заинтересованных сторон и консультации</a:t>
            </a:r>
            <a:endParaRPr lang="en-IN" sz="4000" b="1" dirty="0"/>
          </a:p>
        </p:txBody>
      </p:sp>
      <p:sp>
        <p:nvSpPr>
          <p:cNvPr id="7" name="Rectangle 6"/>
          <p:cNvSpPr/>
          <p:nvPr/>
        </p:nvSpPr>
        <p:spPr>
          <a:xfrm>
            <a:off x="1473316" y="1852470"/>
            <a:ext cx="1090612" cy="9842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952068" y="0"/>
            <a:ext cx="8239932" cy="6857995"/>
          </a:xfrm>
          <a:prstGeom prst="rect">
            <a:avLst/>
          </a:prstGeom>
          <a:solidFill>
            <a:srgbClr val="B6D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3952068" cy="6857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1036" y="318655"/>
            <a:ext cx="7725905" cy="6539339"/>
          </a:xfrm>
        </p:spPr>
        <p:txBody>
          <a:bodyPr>
            <a:normAutofit fontScale="77500" lnSpcReduction="20000"/>
          </a:bodyPr>
          <a:lstStyle/>
          <a:p>
            <a:r>
              <a:rPr lang="ru-RU" sz="3000" dirty="0">
                <a:solidFill>
                  <a:srgbClr val="FF0000"/>
                </a:solidFill>
              </a:rPr>
              <a:t>Снижение затрат на электроэнергию </a:t>
            </a:r>
            <a:r>
              <a:rPr lang="ru-RU" sz="3000" dirty="0"/>
              <a:t>и </a:t>
            </a:r>
            <a:r>
              <a:rPr lang="ru-RU" sz="3000" dirty="0" smtClean="0"/>
              <a:t>эксплуатацию/обслуживание </a:t>
            </a:r>
            <a:r>
              <a:rPr lang="ru-RU" sz="3000" dirty="0"/>
              <a:t>для предприятий и конечных пользователей, </a:t>
            </a:r>
            <a:r>
              <a:rPr lang="ru-RU" sz="3000" dirty="0" smtClean="0"/>
              <a:t>что </a:t>
            </a:r>
            <a:r>
              <a:rPr lang="ru-RU" sz="3000" dirty="0" smtClean="0">
                <a:solidFill>
                  <a:srgbClr val="FF0000"/>
                </a:solidFill>
              </a:rPr>
              <a:t>даст возможность вложить сэкономленные финансы в повышение производительности</a:t>
            </a:r>
          </a:p>
          <a:p>
            <a:r>
              <a:rPr lang="ru-RU" sz="3000" dirty="0" smtClean="0"/>
              <a:t>Уменьшение пиковой нагрузки электроэнергии</a:t>
            </a:r>
            <a:endParaRPr lang="en-US" sz="3000" dirty="0" smtClean="0"/>
          </a:p>
          <a:p>
            <a:r>
              <a:rPr lang="ru-RU" sz="3000" dirty="0"/>
              <a:t>Лучшее </a:t>
            </a:r>
            <a:r>
              <a:rPr lang="ru-RU" sz="3000" dirty="0" smtClean="0"/>
              <a:t>сочетание нагрузки </a:t>
            </a:r>
            <a:r>
              <a:rPr lang="ru-RU" sz="3000" dirty="0"/>
              <a:t>охлаждения и производительности </a:t>
            </a:r>
            <a:r>
              <a:rPr lang="ru-RU" sz="3000" dirty="0" smtClean="0"/>
              <a:t>оборудования/системы</a:t>
            </a:r>
          </a:p>
          <a:p>
            <a:r>
              <a:rPr lang="ru-RU" sz="3000" dirty="0" smtClean="0"/>
              <a:t>Требовать, чтобы новые кондиционеры воздуха были эффективными (</a:t>
            </a:r>
            <a:r>
              <a:rPr lang="ru-RU" sz="3000" dirty="0"/>
              <a:t>на </a:t>
            </a:r>
            <a:r>
              <a:rPr lang="ru-RU" sz="3000" dirty="0" smtClean="0"/>
              <a:t>½ снижение спроса </a:t>
            </a:r>
            <a:r>
              <a:rPr lang="ru-RU" sz="3000" dirty="0"/>
              <a:t>на </a:t>
            </a:r>
            <a:r>
              <a:rPr lang="ru-RU" sz="3000" dirty="0" smtClean="0"/>
              <a:t>энергию). </a:t>
            </a:r>
            <a:r>
              <a:rPr lang="ru-RU" sz="3000" dirty="0"/>
              <a:t>Если </a:t>
            </a:r>
            <a:r>
              <a:rPr lang="ru-RU" sz="3000" dirty="0">
                <a:solidFill>
                  <a:srgbClr val="FF0000"/>
                </a:solidFill>
              </a:rPr>
              <a:t>это </a:t>
            </a:r>
            <a:r>
              <a:rPr lang="ru-RU" sz="3000" dirty="0" smtClean="0">
                <a:solidFill>
                  <a:srgbClr val="FF0000"/>
                </a:solidFill>
              </a:rPr>
              <a:t>сочетать </a:t>
            </a:r>
            <a:r>
              <a:rPr lang="ru-RU" sz="3000" dirty="0">
                <a:solidFill>
                  <a:srgbClr val="FF0000"/>
                </a:solidFill>
              </a:rPr>
              <a:t>с </a:t>
            </a:r>
            <a:r>
              <a:rPr lang="ru-RU" sz="3000" dirty="0" smtClean="0">
                <a:solidFill>
                  <a:srgbClr val="FF0000"/>
                </a:solidFill>
              </a:rPr>
              <a:t>энергоэффективным </a:t>
            </a:r>
            <a:r>
              <a:rPr lang="ru-RU" sz="3000" dirty="0">
                <a:solidFill>
                  <a:srgbClr val="FF0000"/>
                </a:solidFill>
              </a:rPr>
              <a:t>проектированием зданий</a:t>
            </a:r>
            <a:r>
              <a:rPr lang="ru-RU" sz="3000" dirty="0"/>
              <a:t>, </a:t>
            </a:r>
            <a:r>
              <a:rPr lang="ru-RU" sz="3000" dirty="0" smtClean="0"/>
              <a:t>то можно избежать роста потребления </a:t>
            </a:r>
            <a:r>
              <a:rPr lang="ru-RU" sz="3000" dirty="0"/>
              <a:t>энергии для охлаждения помещений</a:t>
            </a:r>
            <a:r>
              <a:rPr lang="ru-RU" sz="3000" dirty="0" smtClean="0"/>
              <a:t>.</a:t>
            </a:r>
          </a:p>
          <a:p>
            <a:r>
              <a:rPr lang="ru-RU" sz="3000" dirty="0"/>
              <a:t>Защита планеты от воздействия глобального потепления путем сокращения </a:t>
            </a:r>
            <a:r>
              <a:rPr lang="ru-RU" sz="3000" dirty="0" smtClean="0"/>
              <a:t>антропогенных выбросов при сжигании </a:t>
            </a:r>
            <a:r>
              <a:rPr lang="ru-RU" sz="3000" dirty="0"/>
              <a:t>ископаемого топлива для выработки электроэнергии (энергетическая безопасность: меньше импорта топлива, меньше выбросов: чистый </a:t>
            </a:r>
            <a:r>
              <a:rPr lang="ru-RU" sz="3000" dirty="0" smtClean="0"/>
              <a:t>воздух)</a:t>
            </a:r>
          </a:p>
          <a:p>
            <a:r>
              <a:rPr lang="ru-RU" sz="3000" dirty="0" smtClean="0"/>
              <a:t>Эко- акции - </a:t>
            </a:r>
            <a:r>
              <a:rPr lang="ru-RU" dirty="0" smtClean="0"/>
              <a:t>корпоративная социальная ответственность</a:t>
            </a:r>
            <a:endParaRPr lang="en-US" sz="3000" dirty="0" smtClean="0"/>
          </a:p>
          <a:p>
            <a:r>
              <a:rPr lang="ru-RU" sz="3000" dirty="0" smtClean="0"/>
              <a:t>Соответствие обязательствам по Кигалийской поправке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Title 1"/>
          <p:cNvSpPr txBox="1">
            <a:spLocks noGrp="1"/>
          </p:cNvSpPr>
          <p:nvPr>
            <p:ph type="title"/>
          </p:nvPr>
        </p:nvSpPr>
        <p:spPr>
          <a:xfrm>
            <a:off x="462488" y="1915256"/>
            <a:ext cx="3489580" cy="262574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 smtClean="0"/>
              <a:t>Выгоды от </a:t>
            </a:r>
            <a:br>
              <a:rPr lang="ru-RU" sz="4000" b="1" dirty="0" smtClean="0"/>
            </a:br>
            <a:r>
              <a:rPr lang="ru-RU" sz="4000" b="1" dirty="0" err="1" smtClean="0"/>
              <a:t>энерго</a:t>
            </a:r>
            <a:r>
              <a:rPr lang="ru-RU" sz="4000" b="1" dirty="0" smtClean="0"/>
              <a:t>-</a:t>
            </a:r>
            <a:br>
              <a:rPr lang="ru-RU" sz="4000" b="1" dirty="0" smtClean="0"/>
            </a:br>
            <a:r>
              <a:rPr lang="ru-RU" sz="4000" b="1" dirty="0" smtClean="0"/>
              <a:t>эффективности</a:t>
            </a:r>
            <a:endParaRPr lang="en-IN" sz="4000" b="1" dirty="0"/>
          </a:p>
        </p:txBody>
      </p:sp>
      <p:sp>
        <p:nvSpPr>
          <p:cNvPr id="7" name="Rectangle 6"/>
          <p:cNvSpPr/>
          <p:nvPr/>
        </p:nvSpPr>
        <p:spPr>
          <a:xfrm>
            <a:off x="1464623" y="2103957"/>
            <a:ext cx="1090612" cy="9842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427168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952068" y="0"/>
            <a:ext cx="8239932" cy="6857995"/>
          </a:xfrm>
          <a:prstGeom prst="rect">
            <a:avLst/>
          </a:prstGeom>
          <a:solidFill>
            <a:srgbClr val="B6D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3952068" cy="6857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28" y="2418650"/>
            <a:ext cx="3160363" cy="1665153"/>
          </a:xfrm>
        </p:spPr>
        <p:txBody>
          <a:bodyPr>
            <a:normAutofit/>
          </a:bodyPr>
          <a:lstStyle/>
          <a:p>
            <a:pPr algn="ctr"/>
            <a:r>
              <a:rPr lang="ru-RU" sz="4000" b="1" dirty="0" smtClean="0"/>
              <a:t>Решение проблем</a:t>
            </a:r>
            <a:endParaRPr lang="mk-MK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068" y="29416"/>
            <a:ext cx="8239932" cy="6505496"/>
          </a:xfrm>
        </p:spPr>
        <p:txBody>
          <a:bodyPr>
            <a:noAutofit/>
          </a:bodyPr>
          <a:lstStyle/>
          <a:p>
            <a:r>
              <a:rPr lang="ru-RU" sz="2400" dirty="0" smtClean="0"/>
              <a:t>Проекты </a:t>
            </a:r>
            <a:r>
              <a:rPr lang="ru-RU" sz="2400" dirty="0"/>
              <a:t>по энергоэффективности часто испытывают трудности с привлечением </a:t>
            </a:r>
            <a:r>
              <a:rPr lang="ru-RU" sz="2400" b="1" dirty="0"/>
              <a:t>финансирования</a:t>
            </a:r>
            <a:r>
              <a:rPr lang="ru-RU" sz="2400" dirty="0"/>
              <a:t>. Как государственные, так и частные заинтересованные стороны выигрывают от повышения энергоэффективности, но первоначальные затраты не </a:t>
            </a:r>
            <a:r>
              <a:rPr lang="ru-RU" sz="2400" dirty="0" smtClean="0"/>
              <a:t>делятся между ними.</a:t>
            </a:r>
            <a:endParaRPr lang="en-GB" sz="2400" dirty="0" smtClean="0"/>
          </a:p>
          <a:p>
            <a:r>
              <a:rPr lang="ru-RU" sz="2400" dirty="0" smtClean="0"/>
              <a:t>Внедрение </a:t>
            </a:r>
            <a:r>
              <a:rPr lang="ru-RU" sz="2400" dirty="0"/>
              <a:t>высокоэффективных технологий часто создает первоначальный </a:t>
            </a:r>
            <a:r>
              <a:rPr lang="ru-RU" sz="2400" b="1" dirty="0"/>
              <a:t>«ценовой барьер»</a:t>
            </a:r>
            <a:r>
              <a:rPr lang="ru-RU" sz="2400" dirty="0"/>
              <a:t>,</a:t>
            </a:r>
            <a:r>
              <a:rPr lang="ru-RU" sz="2400" b="1" dirty="0"/>
              <a:t> </a:t>
            </a:r>
            <a:r>
              <a:rPr lang="ru-RU" sz="2400" dirty="0"/>
              <a:t>который </a:t>
            </a:r>
            <a:r>
              <a:rPr lang="ru-RU" sz="2400" dirty="0" smtClean="0"/>
              <a:t>делает </a:t>
            </a:r>
            <a:r>
              <a:rPr lang="ru-RU" sz="2400" dirty="0"/>
              <a:t>их менее конкурентоспособными, чем традиционные технологии. (соответствующая политика и финансовое вмешательство, а также </a:t>
            </a:r>
            <a:r>
              <a:rPr lang="ru-RU" sz="2400" dirty="0" smtClean="0"/>
              <a:t>комплексный подход могут совместить энергоэффективность с заменой хладагентов).</a:t>
            </a:r>
            <a:endParaRPr lang="en-GB" sz="2400" dirty="0" smtClean="0"/>
          </a:p>
          <a:p>
            <a:r>
              <a:rPr lang="ru-RU" sz="2400" b="1" dirty="0"/>
              <a:t>Отсутствие мониторинга </a:t>
            </a:r>
            <a:r>
              <a:rPr lang="ru-RU" sz="2400" dirty="0"/>
              <a:t>и </a:t>
            </a:r>
            <a:r>
              <a:rPr lang="ru-RU" sz="2400" b="1" dirty="0"/>
              <a:t>анализа </a:t>
            </a:r>
            <a:r>
              <a:rPr lang="ru-RU" sz="2400" b="1" dirty="0" smtClean="0"/>
              <a:t>производительности</a:t>
            </a:r>
          </a:p>
          <a:p>
            <a:r>
              <a:rPr lang="ru-RU" sz="2400" b="1" dirty="0" smtClean="0"/>
              <a:t>Неполный финансовый </a:t>
            </a:r>
            <a:r>
              <a:rPr lang="ru-RU" sz="2400" b="1" dirty="0"/>
              <a:t>анализ, </a:t>
            </a:r>
            <a:r>
              <a:rPr lang="ru-RU" sz="2400" dirty="0"/>
              <a:t>который не оценивает многочисленные выгоды от повышения энергоэффективности, является проблемой, которую необходимо решить</a:t>
            </a:r>
            <a:r>
              <a:rPr lang="ru-RU" sz="2400" dirty="0" smtClean="0"/>
              <a:t>.</a:t>
            </a:r>
          </a:p>
          <a:p>
            <a:r>
              <a:rPr lang="ru-RU" sz="2400" dirty="0"/>
              <a:t>Чтобы свести к минимуму </a:t>
            </a:r>
            <a:r>
              <a:rPr lang="ru-RU" sz="2400" dirty="0" smtClean="0"/>
              <a:t>инвестиции </a:t>
            </a:r>
            <a:r>
              <a:rPr lang="ru-RU" sz="2400" dirty="0"/>
              <a:t>в</a:t>
            </a:r>
            <a:r>
              <a:rPr lang="ru-RU" sz="2400" dirty="0" smtClean="0"/>
              <a:t> электростанции </a:t>
            </a:r>
            <a:r>
              <a:rPr lang="ru-RU" sz="2400" dirty="0"/>
              <a:t>и </a:t>
            </a:r>
            <a:r>
              <a:rPr lang="ru-RU" sz="2400" dirty="0" smtClean="0"/>
              <a:t>распределение </a:t>
            </a:r>
            <a:r>
              <a:rPr lang="ru-RU" sz="2400" dirty="0"/>
              <a:t>электроэнергии, важно </a:t>
            </a:r>
            <a:r>
              <a:rPr lang="ru-RU" sz="2400" dirty="0" smtClean="0"/>
              <a:t>внедрять </a:t>
            </a:r>
            <a:r>
              <a:rPr lang="ru-RU" sz="2400" dirty="0"/>
              <a:t>современные высокоэффективные </a:t>
            </a:r>
            <a:r>
              <a:rPr lang="ru-RU" sz="2400" dirty="0" smtClean="0"/>
              <a:t>технологии.</a:t>
            </a:r>
            <a:endParaRPr lang="en-US" sz="2400" dirty="0" smtClean="0"/>
          </a:p>
          <a:p>
            <a:endParaRPr lang="mk-MK" sz="2400" dirty="0"/>
          </a:p>
        </p:txBody>
      </p:sp>
      <p:sp>
        <p:nvSpPr>
          <p:cNvPr id="6" name="Rectangle 5"/>
          <p:cNvSpPr/>
          <p:nvPr/>
        </p:nvSpPr>
        <p:spPr>
          <a:xfrm>
            <a:off x="1310825" y="2320225"/>
            <a:ext cx="1090612" cy="9842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662151"/>
          </a:xfrm>
        </p:spPr>
        <p:txBody>
          <a:bodyPr/>
          <a:lstStyle/>
          <a:p>
            <a:r>
              <a:rPr lang="ru-RU" sz="3200" b="1" i="1" dirty="0">
                <a:solidFill>
                  <a:srgbClr val="FF0000"/>
                </a:solidFill>
              </a:rPr>
              <a:t>Методология расчета энергетической эффективности зданий 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662152"/>
            <a:ext cx="12097407" cy="6117020"/>
          </a:xfrm>
        </p:spPr>
        <p:txBody>
          <a:bodyPr>
            <a:normAutofit/>
          </a:bodyPr>
          <a:lstStyle/>
          <a:p>
            <a:r>
              <a:rPr lang="ru-RU" dirty="0"/>
              <a:t> а) фактические тепловые характеристики здания, включая его внутренние перегородки:</a:t>
            </a:r>
          </a:p>
          <a:p>
            <a:r>
              <a:rPr lang="ru-RU" dirty="0"/>
              <a:t>    – тепловую мощность;</a:t>
            </a:r>
          </a:p>
          <a:p>
            <a:r>
              <a:rPr lang="ru-RU" dirty="0"/>
              <a:t>    – теплоизоляцию;</a:t>
            </a:r>
          </a:p>
          <a:p>
            <a:r>
              <a:rPr lang="ru-RU" dirty="0"/>
              <a:t>    </a:t>
            </a:r>
            <a:r>
              <a:rPr lang="ru-RU" dirty="0">
                <a:solidFill>
                  <a:srgbClr val="FF0000"/>
                </a:solidFill>
              </a:rPr>
              <a:t>– пассивное отопление;</a:t>
            </a:r>
          </a:p>
          <a:p>
            <a:r>
              <a:rPr lang="ru-RU" dirty="0">
                <a:solidFill>
                  <a:srgbClr val="FF0000"/>
                </a:solidFill>
              </a:rPr>
              <a:t>    – элементы охлаждения; </a:t>
            </a:r>
          </a:p>
          <a:p>
            <a:r>
              <a:rPr lang="ru-RU" dirty="0">
                <a:solidFill>
                  <a:srgbClr val="FF0000"/>
                </a:solidFill>
              </a:rPr>
              <a:t>    – тепловые мосты</a:t>
            </a:r>
            <a:r>
              <a:rPr lang="ru-RU" dirty="0"/>
              <a:t>;</a:t>
            </a:r>
          </a:p>
          <a:p>
            <a:r>
              <a:rPr lang="ru-RU" dirty="0"/>
              <a:t>    b) установки </a:t>
            </a:r>
            <a:r>
              <a:rPr lang="ru-RU" dirty="0">
                <a:solidFill>
                  <a:srgbClr val="FF0000"/>
                </a:solidFill>
              </a:rPr>
              <a:t>для отопления и снабжения горячей водой</a:t>
            </a:r>
            <a:r>
              <a:rPr lang="ru-RU" dirty="0"/>
              <a:t>, в том числе характеристики их теплоизоляции;</a:t>
            </a:r>
          </a:p>
          <a:p>
            <a:r>
              <a:rPr lang="ru-RU" dirty="0"/>
              <a:t>    c) </a:t>
            </a:r>
            <a:r>
              <a:rPr lang="ru-RU" dirty="0">
                <a:solidFill>
                  <a:srgbClr val="FF0000"/>
                </a:solidFill>
              </a:rPr>
              <a:t>установки кондиционирования воздуха</a:t>
            </a:r>
            <a:r>
              <a:rPr lang="ru-RU" dirty="0"/>
              <a:t>;</a:t>
            </a:r>
          </a:p>
          <a:p>
            <a:r>
              <a:rPr lang="ru-RU" dirty="0"/>
              <a:t>    d) естественную и механическую вентиляцию и, по обстоятельствам, воздухонепроницаемость;</a:t>
            </a:r>
          </a:p>
        </p:txBody>
      </p:sp>
    </p:spTree>
    <p:extLst>
      <p:ext uri="{BB962C8B-B14F-4D97-AF65-F5344CB8AC3E}">
        <p14:creationId xmlns:p14="http://schemas.microsoft.com/office/powerpoint/2010/main" val="8202402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693682"/>
          </a:xfrm>
        </p:spPr>
        <p:txBody>
          <a:bodyPr/>
          <a:lstStyle/>
          <a:p>
            <a:r>
              <a:rPr lang="ru-RU" sz="3200" b="1" i="1" dirty="0">
                <a:solidFill>
                  <a:srgbClr val="FF0000"/>
                </a:solidFill>
              </a:rPr>
              <a:t>Методология расчета энергетической эффективности зданий 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693684"/>
            <a:ext cx="12065876" cy="6164316"/>
          </a:xfrm>
        </p:spPr>
        <p:txBody>
          <a:bodyPr>
            <a:normAutofit/>
          </a:bodyPr>
          <a:lstStyle/>
          <a:p>
            <a:r>
              <a:rPr lang="ru-RU" dirty="0"/>
              <a:t> e) встроенную осветительную установку (главным образом в нежилом секторе);</a:t>
            </a:r>
          </a:p>
          <a:p>
            <a:r>
              <a:rPr lang="ru-RU" dirty="0"/>
              <a:t>    f) проектирование, позиционирование и ориентацию здания, включая внешние климатические условия;</a:t>
            </a:r>
          </a:p>
          <a:p>
            <a:r>
              <a:rPr lang="ru-RU" dirty="0"/>
              <a:t>    g) </a:t>
            </a:r>
            <a:r>
              <a:rPr lang="ru-RU" dirty="0">
                <a:solidFill>
                  <a:srgbClr val="FF0000"/>
                </a:solidFill>
              </a:rPr>
              <a:t>пассивные солнечные системы и системы солнечной защиты;</a:t>
            </a:r>
          </a:p>
          <a:p>
            <a:r>
              <a:rPr lang="ru-RU" dirty="0"/>
              <a:t>    h) климатические условия внутри помещения, включая предусмотренные проектом;</a:t>
            </a:r>
          </a:p>
          <a:p>
            <a:r>
              <a:rPr lang="ru-RU" dirty="0"/>
              <a:t>    i) внутренние нагрузки.</a:t>
            </a:r>
          </a:p>
          <a:p>
            <a:pPr marL="0" indent="0">
              <a:buNone/>
            </a:pPr>
            <a:endParaRPr lang="ru-RU" dirty="0"/>
          </a:p>
          <a:p>
            <a:r>
              <a:rPr lang="ru-RU" dirty="0"/>
              <a:t>    а) местные условия солнечного воздействия, активные солнечные системы и другие электрические и тепловые системы, базирующиеся на энергии, получаемой из возобновляемых источников энергии;</a:t>
            </a:r>
          </a:p>
          <a:p>
            <a:r>
              <a:rPr lang="ru-RU" dirty="0"/>
              <a:t>    b) производство электрической энергии путем </a:t>
            </a:r>
            <a:r>
              <a:rPr lang="ru-RU" dirty="0" err="1"/>
              <a:t>когенерации</a:t>
            </a:r>
            <a:r>
              <a:rPr lang="ru-RU" dirty="0"/>
              <a:t>;</a:t>
            </a:r>
          </a:p>
          <a:p>
            <a:r>
              <a:rPr lang="ru-RU" dirty="0"/>
              <a:t>    c) </a:t>
            </a:r>
            <a:r>
              <a:rPr lang="ru-RU" dirty="0">
                <a:solidFill>
                  <a:srgbClr val="FF0000"/>
                </a:solidFill>
              </a:rPr>
              <a:t>центральные или домовые системы отопления и охлаждения;</a:t>
            </a:r>
          </a:p>
          <a:p>
            <a:r>
              <a:rPr lang="ru-RU" dirty="0"/>
              <a:t>    d) естественное освещение.</a:t>
            </a:r>
          </a:p>
        </p:txBody>
      </p:sp>
    </p:spTree>
    <p:extLst>
      <p:ext uri="{BB962C8B-B14F-4D97-AF65-F5344CB8AC3E}">
        <p14:creationId xmlns:p14="http://schemas.microsoft.com/office/powerpoint/2010/main" val="41668449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6123" y="1"/>
            <a:ext cx="11918731" cy="693682"/>
          </a:xfrm>
        </p:spPr>
        <p:txBody>
          <a:bodyPr>
            <a:normAutofit/>
          </a:bodyPr>
          <a:lstStyle/>
          <a:p>
            <a:r>
              <a:rPr lang="ru-RU" sz="3200" b="1" i="1" dirty="0">
                <a:solidFill>
                  <a:srgbClr val="FF0000"/>
                </a:solidFill>
              </a:rPr>
              <a:t>Методология расчета энергетической эффективности зданий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693682"/>
            <a:ext cx="12192000" cy="6164317"/>
          </a:xfrm>
        </p:spPr>
        <p:txBody>
          <a:bodyPr>
            <a:normAutofit/>
          </a:bodyPr>
          <a:lstStyle/>
          <a:p>
            <a:r>
              <a:rPr lang="ru-RU" dirty="0"/>
              <a:t>возможность расчета следующих показателей энергетической эффективности:</a:t>
            </a:r>
          </a:p>
          <a:p>
            <a:r>
              <a:rPr lang="ru-RU" dirty="0"/>
              <a:t>    а) удельный расход энергии на отопление помещений;</a:t>
            </a:r>
          </a:p>
          <a:p>
            <a:r>
              <a:rPr lang="ru-RU" dirty="0"/>
              <a:t>    b) </a:t>
            </a:r>
            <a:r>
              <a:rPr lang="ru-RU" dirty="0">
                <a:solidFill>
                  <a:srgbClr val="FF0000"/>
                </a:solidFill>
              </a:rPr>
              <a:t>удельный расход энергии на подготовку горячей воды для хозяйственных нужд;</a:t>
            </a:r>
          </a:p>
          <a:p>
            <a:r>
              <a:rPr lang="ru-RU" dirty="0"/>
              <a:t>    c) </a:t>
            </a:r>
            <a:r>
              <a:rPr lang="ru-RU" dirty="0">
                <a:solidFill>
                  <a:srgbClr val="FF0000"/>
                </a:solidFill>
              </a:rPr>
              <a:t>удельный расход энергии на вентиляцию и охлаждение;</a:t>
            </a:r>
          </a:p>
          <a:p>
            <a:r>
              <a:rPr lang="ru-RU" dirty="0"/>
              <a:t>    d) удельный расход энергии на освещение;</a:t>
            </a:r>
          </a:p>
          <a:p>
            <a:r>
              <a:rPr lang="ru-RU" dirty="0"/>
              <a:t>    e) глобальная энергетическая эффективность здания: общий объем необходимой первичной энергии (для отопления помещений, подготовки горячей воды для хозяйственных нужд, вентиляции и охлаждения, освещения);</a:t>
            </a:r>
          </a:p>
          <a:p>
            <a:r>
              <a:rPr lang="ru-RU" dirty="0"/>
              <a:t>    f) выбросы CO2.</a:t>
            </a:r>
          </a:p>
          <a:p>
            <a:r>
              <a:rPr lang="ru-RU" dirty="0"/>
              <a:t>    (5) На основе результатов оценки энергетической эффективности зданию </a:t>
            </a:r>
            <a:r>
              <a:rPr lang="ru-RU" dirty="0">
                <a:solidFill>
                  <a:srgbClr val="FF0000"/>
                </a:solidFill>
              </a:rPr>
              <a:t>присваивается класс энергопотребления </a:t>
            </a:r>
            <a:r>
              <a:rPr lang="ru-RU" dirty="0"/>
              <a:t>в порядке, установленном центральным отраслевым органом </a:t>
            </a:r>
            <a:r>
              <a:rPr lang="ru-RU" dirty="0" smtClean="0"/>
              <a:t>управления </a:t>
            </a:r>
            <a:r>
              <a:rPr lang="ru-RU" dirty="0"/>
              <a:t>в области строительства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008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 rot="16200000">
            <a:off x="2666999" y="-2667004"/>
            <a:ext cx="6858001" cy="121920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10" name="Rectangle 9"/>
          <p:cNvSpPr/>
          <p:nvPr/>
        </p:nvSpPr>
        <p:spPr>
          <a:xfrm rot="16200000">
            <a:off x="5535433" y="-5535438"/>
            <a:ext cx="1121133" cy="1219200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7" name="TextBox 6"/>
          <p:cNvSpPr txBox="1"/>
          <p:nvPr/>
        </p:nvSpPr>
        <p:spPr>
          <a:xfrm>
            <a:off x="865631" y="252484"/>
            <a:ext cx="108704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</a:rPr>
              <a:t>Потребление энергии в зависимости от топлива/сектора </a:t>
            </a:r>
            <a:r>
              <a:rPr lang="ru-RU" sz="2800" b="1" dirty="0">
                <a:solidFill>
                  <a:schemeClr val="bg1"/>
                </a:solidFill>
              </a:rPr>
              <a:t>в </a:t>
            </a:r>
            <a:r>
              <a:rPr lang="ru-RU" sz="2800" b="1" dirty="0" smtClean="0">
                <a:solidFill>
                  <a:schemeClr val="bg1"/>
                </a:solidFill>
              </a:rPr>
              <a:t>странах</a:t>
            </a:r>
            <a:endParaRPr lang="mk-MK" sz="2800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8" name="Picture 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50017" y="2798859"/>
            <a:ext cx="4686108" cy="3138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3307" y="2867583"/>
            <a:ext cx="5778224" cy="2805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/>
          <p:nvPr/>
        </p:nvSpPr>
        <p:spPr>
          <a:xfrm>
            <a:off x="6011186" y="2250022"/>
            <a:ext cx="7315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latin typeface="Montserrat"/>
              </a:rPr>
              <a:t>Энергетические ресурсы по видам топлива</a:t>
            </a:r>
          </a:p>
          <a:p>
            <a:pPr algn="ctr"/>
            <a:endParaRPr lang="mk-MK" sz="1600" b="1" dirty="0">
              <a:latin typeface="Montserra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412253" y="2360682"/>
            <a:ext cx="7315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latin typeface="Montserrat"/>
              </a:rPr>
              <a:t>Потребление электричества по секторам</a:t>
            </a:r>
          </a:p>
          <a:p>
            <a:pPr algn="ctr"/>
            <a:endParaRPr lang="mk-MK" sz="1600" b="1" dirty="0">
              <a:latin typeface="Montserra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050018" y="2798858"/>
            <a:ext cx="4686108" cy="3138645"/>
          </a:xfrm>
          <a:prstGeom prst="rect">
            <a:avLst/>
          </a:prstGeom>
          <a:noFill/>
          <a:ln w="381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9" name="Rectangle 18"/>
          <p:cNvSpPr/>
          <p:nvPr/>
        </p:nvSpPr>
        <p:spPr>
          <a:xfrm>
            <a:off x="503307" y="2851680"/>
            <a:ext cx="5778224" cy="2837551"/>
          </a:xfrm>
          <a:prstGeom prst="rect">
            <a:avLst/>
          </a:prstGeom>
          <a:noFill/>
          <a:ln w="381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" name="TextBox 1"/>
          <p:cNvSpPr txBox="1"/>
          <p:nvPr/>
        </p:nvSpPr>
        <p:spPr>
          <a:xfrm>
            <a:off x="2490599" y="1421606"/>
            <a:ext cx="75818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</a:rPr>
              <a:t>Самая дешевая энергия </a:t>
            </a:r>
            <a:r>
              <a:rPr lang="ru-RU" b="1" dirty="0">
                <a:solidFill>
                  <a:srgbClr val="0070C0"/>
                </a:solidFill>
              </a:rPr>
              <a:t>- та, которая…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419445" y="1360212"/>
            <a:ext cx="30688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0000"/>
                </a:solidFill>
              </a:rPr>
              <a:t> </a:t>
            </a:r>
            <a:r>
              <a:rPr lang="ru-RU" sz="2400" b="1" dirty="0" smtClean="0">
                <a:solidFill>
                  <a:srgbClr val="FF0000"/>
                </a:solidFill>
              </a:rPr>
              <a:t>не потребляется</a:t>
            </a:r>
            <a:r>
              <a:rPr lang="en-US" sz="2400" b="1" dirty="0" smtClean="0">
                <a:solidFill>
                  <a:srgbClr val="FF0000"/>
                </a:solidFill>
              </a:rPr>
              <a:t>!</a:t>
            </a:r>
            <a:endParaRPr lang="en-US" sz="2400" b="1" dirty="0">
              <a:solidFill>
                <a:srgbClr val="FF0000"/>
              </a:solidFill>
            </a:endParaRPr>
          </a:p>
          <a:p>
            <a:endParaRPr lang="en-US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1304545" y="2953899"/>
            <a:ext cx="1466470" cy="4023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ru-RU" sz="1400" b="1" dirty="0" smtClean="0"/>
              <a:t>Транспорт 2 %</a:t>
            </a:r>
            <a:endParaRPr lang="ru-RU" sz="1400" b="1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2839018" y="2953899"/>
            <a:ext cx="2854646" cy="4023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 smtClean="0"/>
              <a:t>Сельское хозяйство 4 %</a:t>
            </a:r>
            <a:endParaRPr lang="ru-RU" sz="1400" b="1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4081827" y="3445632"/>
            <a:ext cx="1466470" cy="4023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ru-RU" sz="1400" b="1" dirty="0" smtClean="0"/>
              <a:t>Жилой 23 %</a:t>
            </a:r>
            <a:endParaRPr lang="ru-RU" sz="1400" b="1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4126992" y="5060438"/>
            <a:ext cx="2117963" cy="58850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 smtClean="0"/>
              <a:t>Обслуживание 19 %</a:t>
            </a:r>
            <a:endParaRPr lang="ru-RU" sz="1400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568644" y="4801589"/>
            <a:ext cx="1621536" cy="4023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ru-RU" sz="1400" b="1" spc="-150" dirty="0" smtClean="0"/>
              <a:t>Промышленность 52 %</a:t>
            </a:r>
            <a:endParaRPr lang="ru-RU" sz="1400" b="1" spc="-15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7050019" y="3152264"/>
            <a:ext cx="2327344" cy="4023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ru-RU" sz="1400" b="1" dirty="0" smtClean="0"/>
              <a:t>Биомасса и отходы 12 %</a:t>
            </a:r>
            <a:endParaRPr lang="ru-RU" sz="14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8037332" y="2850089"/>
            <a:ext cx="1618871" cy="4023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ru-RU" sz="1400" b="1" dirty="0" smtClean="0"/>
              <a:t>Гидроэнергия  3 %</a:t>
            </a:r>
            <a:endParaRPr lang="ru-RU" sz="1400" b="1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7317559" y="3774371"/>
            <a:ext cx="1272607" cy="4023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ru-RU" sz="1400" b="1" dirty="0" smtClean="0"/>
              <a:t>Атомная 2 %</a:t>
            </a:r>
            <a:endParaRPr lang="ru-RU" sz="1400" b="1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7086591" y="4645229"/>
            <a:ext cx="1431215" cy="4023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ru-RU" sz="1400" b="1" dirty="0" smtClean="0"/>
              <a:t>Природный </a:t>
            </a:r>
          </a:p>
          <a:p>
            <a:pPr algn="r"/>
            <a:r>
              <a:rPr lang="ru-RU" sz="1400" b="1" dirty="0" smtClean="0"/>
              <a:t>газ 12 %</a:t>
            </a:r>
            <a:endParaRPr lang="ru-RU" sz="1400" b="1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9699302" y="2955694"/>
            <a:ext cx="1224009" cy="4023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ru-RU" sz="1400" b="1" dirty="0" smtClean="0"/>
              <a:t>Другие 1,1 %</a:t>
            </a:r>
            <a:endParaRPr lang="ru-RU" sz="1400" b="1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10833019" y="3426436"/>
            <a:ext cx="1143900" cy="4023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 smtClean="0"/>
              <a:t>Нефть 27 %</a:t>
            </a:r>
            <a:endParaRPr lang="ru-RU" sz="1400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10594848" y="5488063"/>
            <a:ext cx="1081246" cy="4023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ru-RU" sz="1400" b="1" dirty="0" smtClean="0"/>
              <a:t>Уголь 36 %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2967923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-31531"/>
            <a:ext cx="12192000" cy="71470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 smtClean="0">
                <a:solidFill>
                  <a:srgbClr val="FF0000"/>
                </a:solidFill>
              </a:rPr>
              <a:t>Энергетическая </a:t>
            </a:r>
            <a:r>
              <a:rPr lang="ru-RU" sz="3600" dirty="0">
                <a:solidFill>
                  <a:srgbClr val="FF0000"/>
                </a:solidFill>
              </a:rPr>
              <a:t>эффективность </a:t>
            </a:r>
            <a:r>
              <a:rPr lang="ru-RU" sz="3600" dirty="0" smtClean="0">
                <a:solidFill>
                  <a:srgbClr val="FF0000"/>
                </a:solidFill>
              </a:rPr>
              <a:t>технических </a:t>
            </a:r>
            <a:r>
              <a:rPr lang="ru-RU" sz="3600" dirty="0">
                <a:solidFill>
                  <a:srgbClr val="FF0000"/>
                </a:solidFill>
              </a:rPr>
              <a:t>систем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3571" y="472966"/>
            <a:ext cx="12034345" cy="6385034"/>
          </a:xfrm>
        </p:spPr>
        <p:txBody>
          <a:bodyPr>
            <a:normAutofit/>
          </a:bodyPr>
          <a:lstStyle/>
          <a:p>
            <a:r>
              <a:rPr lang="ru-RU" dirty="0"/>
              <a:t>Эти требования включают:</a:t>
            </a:r>
          </a:p>
          <a:p>
            <a:r>
              <a:rPr lang="ru-RU" dirty="0"/>
              <a:t>    a) правильную установку, калибровку, автоматизацию, регулирование и надлежащий контроль технических систем здания;</a:t>
            </a:r>
          </a:p>
          <a:p>
            <a:r>
              <a:rPr lang="ru-RU" dirty="0"/>
              <a:t>    b) установку измерительных систем.</a:t>
            </a:r>
          </a:p>
          <a:p>
            <a:r>
              <a:rPr lang="ru-RU" dirty="0"/>
              <a:t>    </a:t>
            </a:r>
            <a:r>
              <a:rPr lang="ru-RU" dirty="0" smtClean="0"/>
              <a:t> </a:t>
            </a:r>
            <a:r>
              <a:rPr lang="ru-RU" dirty="0">
                <a:solidFill>
                  <a:srgbClr val="FF0000"/>
                </a:solidFill>
              </a:rPr>
              <a:t>В ходе проектирования новых зданий и до получения разрешения на строительство </a:t>
            </a:r>
            <a:r>
              <a:rPr lang="ru-RU" dirty="0"/>
              <a:t>должны быть изучены и приняты во внимание возможности использования </a:t>
            </a:r>
            <a:r>
              <a:rPr lang="ru-RU" dirty="0">
                <a:solidFill>
                  <a:srgbClr val="FF0000"/>
                </a:solidFill>
              </a:rPr>
              <a:t>с технической, экономической точек зрения и с точки зрения охраны окружающей среды </a:t>
            </a:r>
            <a:r>
              <a:rPr lang="ru-RU" dirty="0"/>
              <a:t>таких высокоэффективных альтернативных систем, если они доступны, как:</a:t>
            </a:r>
          </a:p>
          <a:p>
            <a:r>
              <a:rPr lang="ru-RU" dirty="0"/>
              <a:t>    а</a:t>
            </a:r>
            <a:r>
              <a:rPr lang="ru-RU" dirty="0">
                <a:solidFill>
                  <a:srgbClr val="FF0000"/>
                </a:solidFill>
              </a:rPr>
              <a:t>) децентрализованные системы энергоснабжения, базирующиеся на возобновляемых источниках энергии</a:t>
            </a:r>
            <a:r>
              <a:rPr lang="ru-RU" dirty="0"/>
              <a:t>;</a:t>
            </a:r>
          </a:p>
          <a:p>
            <a:r>
              <a:rPr lang="ru-RU" dirty="0"/>
              <a:t>    b) </a:t>
            </a:r>
            <a:r>
              <a:rPr lang="ru-RU" dirty="0" err="1"/>
              <a:t>когенерация</a:t>
            </a:r>
            <a:r>
              <a:rPr lang="ru-RU" dirty="0"/>
              <a:t>;</a:t>
            </a:r>
          </a:p>
          <a:p>
            <a:r>
              <a:rPr lang="ru-RU" dirty="0"/>
              <a:t>    c) </a:t>
            </a:r>
            <a:r>
              <a:rPr lang="ru-RU" dirty="0">
                <a:solidFill>
                  <a:srgbClr val="FF0000"/>
                </a:solidFill>
              </a:rPr>
              <a:t>тепловые насосы;</a:t>
            </a:r>
          </a:p>
          <a:p>
            <a:r>
              <a:rPr lang="ru-RU" dirty="0"/>
              <a:t>    d) </a:t>
            </a:r>
            <a:r>
              <a:rPr lang="ru-RU" dirty="0">
                <a:solidFill>
                  <a:srgbClr val="FF0000"/>
                </a:solidFill>
              </a:rPr>
              <a:t>домовые</a:t>
            </a:r>
            <a:r>
              <a:rPr lang="ru-RU" dirty="0"/>
              <a:t> или централизованные системы отопления или охлаждения, особенно если они базируются, целиком или частично, </a:t>
            </a:r>
            <a:r>
              <a:rPr lang="ru-RU" dirty="0">
                <a:solidFill>
                  <a:srgbClr val="FF0000"/>
                </a:solidFill>
              </a:rPr>
              <a:t>на возобновляемых источниках энергии.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323127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-1" y="0"/>
            <a:ext cx="4541003" cy="6857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" name="TextBox 7"/>
          <p:cNvSpPr txBox="1"/>
          <p:nvPr/>
        </p:nvSpPr>
        <p:spPr>
          <a:xfrm>
            <a:off x="236380" y="1347958"/>
            <a:ext cx="4003798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accent1">
                    <a:lumMod val="75000"/>
                  </a:schemeClr>
                </a:solidFill>
              </a:rPr>
              <a:t>Энергоэффективность:</a:t>
            </a:r>
          </a:p>
          <a:p>
            <a:pPr algn="ctr"/>
            <a:r>
              <a:rPr lang="ru-RU" sz="2800" b="1" i="1" dirty="0">
                <a:solidFill>
                  <a:schemeClr val="accent1">
                    <a:lumMod val="75000"/>
                  </a:schemeClr>
                </a:solidFill>
              </a:rPr>
              <a:t>обеспечение безопасной, надежной, доступной и устойчивой энергии для будущего</a:t>
            </a:r>
          </a:p>
          <a:p>
            <a:pPr algn="ctr"/>
            <a:endParaRPr lang="ru-RU" sz="2800" b="1" dirty="0">
              <a:solidFill>
                <a:schemeClr val="accent1">
                  <a:lumMod val="75000"/>
                </a:schemeClr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7030A0"/>
                </a:solidFill>
              </a:rPr>
              <a:t>Нужно рассмотреть на всех уровнях (</a:t>
            </a:r>
            <a:r>
              <a:rPr lang="ru-RU" sz="2000" b="1" dirty="0">
                <a:solidFill>
                  <a:srgbClr val="7030A0"/>
                </a:solidFill>
              </a:rPr>
              <a:t>производители, </a:t>
            </a:r>
            <a:r>
              <a:rPr lang="ru-RU" sz="2000" b="1" dirty="0" smtClean="0">
                <a:solidFill>
                  <a:srgbClr val="7030A0"/>
                </a:solidFill>
              </a:rPr>
              <a:t>пользователи </a:t>
            </a:r>
            <a:r>
              <a:rPr lang="ru-RU" sz="2000" b="1" dirty="0">
                <a:solidFill>
                  <a:srgbClr val="7030A0"/>
                </a:solidFill>
              </a:rPr>
              <a:t>...)</a:t>
            </a:r>
            <a:endParaRPr lang="en-US" sz="2000" b="1" dirty="0">
              <a:solidFill>
                <a:srgbClr val="7030A0"/>
              </a:solidFill>
            </a:endParaRPr>
          </a:p>
          <a:p>
            <a:pPr algn="ctr"/>
            <a:endParaRPr lang="id-ID" sz="2800" dirty="0">
              <a:solidFill>
                <a:schemeClr val="bg2">
                  <a:lumMod val="50000"/>
                </a:schemeClr>
              </a:solidFill>
              <a:latin typeface="Montserrat Alternates ExLight" pitchFamily="50" charset="-5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61313" y="592753"/>
            <a:ext cx="57329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Многочисленные преимущества энергоэффективности</a:t>
            </a:r>
            <a:endParaRPr lang="mk-MK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6114544" y="5586445"/>
            <a:ext cx="55955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mk-MK" dirty="0"/>
          </a:p>
        </p:txBody>
      </p:sp>
      <p:sp>
        <p:nvSpPr>
          <p:cNvPr id="17" name="Rectangle 16"/>
          <p:cNvSpPr/>
          <p:nvPr/>
        </p:nvSpPr>
        <p:spPr>
          <a:xfrm>
            <a:off x="1441611" y="777419"/>
            <a:ext cx="1090612" cy="984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61313" y="1097639"/>
            <a:ext cx="5559353" cy="5401786"/>
          </a:xfrm>
          <a:prstGeom prst="rect">
            <a:avLst/>
          </a:prstGeom>
        </p:spPr>
      </p:pic>
      <p:sp>
        <p:nvSpPr>
          <p:cNvPr id="3" name="Овал 2"/>
          <p:cNvSpPr/>
          <p:nvPr/>
        </p:nvSpPr>
        <p:spPr>
          <a:xfrm>
            <a:off x="7720981" y="2923037"/>
            <a:ext cx="1725595" cy="1671154"/>
          </a:xfrm>
          <a:prstGeom prst="ellipse">
            <a:avLst/>
          </a:prstGeom>
          <a:solidFill>
            <a:srgbClr val="E6B9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ru-RU" sz="1400" b="1" spc="-100" dirty="0" smtClean="0">
                <a:ln w="0"/>
                <a:solidFill>
                  <a:schemeClr val="tx1"/>
                </a:solidFill>
              </a:rPr>
              <a:t>Повышение </a:t>
            </a:r>
            <a:r>
              <a:rPr lang="ru-RU" sz="1400" b="1" spc="-100" dirty="0" err="1" smtClean="0">
                <a:ln w="0"/>
                <a:solidFill>
                  <a:schemeClr val="tx1"/>
                </a:solidFill>
              </a:rPr>
              <a:t>энерго</a:t>
            </a:r>
            <a:r>
              <a:rPr lang="ru-RU" sz="1400" b="1" spc="-100" dirty="0" smtClean="0">
                <a:ln w="0"/>
                <a:solidFill>
                  <a:schemeClr val="tx1"/>
                </a:solidFill>
              </a:rPr>
              <a:t>-эффективности</a:t>
            </a:r>
            <a:endParaRPr lang="ru-RU" sz="1400" b="1" spc="-100" dirty="0"/>
          </a:p>
        </p:txBody>
      </p:sp>
      <p:sp>
        <p:nvSpPr>
          <p:cNvPr id="4" name="Овал 3"/>
          <p:cNvSpPr/>
          <p:nvPr/>
        </p:nvSpPr>
        <p:spPr>
          <a:xfrm>
            <a:off x="8149590" y="1158599"/>
            <a:ext cx="914400" cy="914400"/>
          </a:xfrm>
          <a:prstGeom prst="ellipse">
            <a:avLst/>
          </a:prstGeom>
          <a:solidFill>
            <a:srgbClr val="E4B9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100" b="1" spc="-100" dirty="0" err="1" smtClean="0">
                <a:solidFill>
                  <a:schemeClr val="tx1"/>
                </a:solidFill>
              </a:rPr>
              <a:t>Энерго</a:t>
            </a:r>
            <a:r>
              <a:rPr lang="ru-RU" sz="1100" b="1" spc="-100" dirty="0" smtClean="0">
                <a:solidFill>
                  <a:schemeClr val="tx1"/>
                </a:solidFill>
              </a:rPr>
              <a:t>-сбережение</a:t>
            </a:r>
            <a:endParaRPr lang="ru-RU" sz="1100" b="1" spc="-100" dirty="0">
              <a:solidFill>
                <a:schemeClr val="tx1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7235190" y="1347958"/>
            <a:ext cx="914400" cy="914400"/>
          </a:xfrm>
          <a:prstGeom prst="ellipse">
            <a:avLst/>
          </a:prstGeom>
          <a:solidFill>
            <a:srgbClr val="F7E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100" b="1" spc="-100" dirty="0" smtClean="0">
                <a:solidFill>
                  <a:schemeClr val="tx1"/>
                </a:solidFill>
              </a:rPr>
              <a:t>Активы</a:t>
            </a:r>
            <a:endParaRPr lang="ru-RU" sz="1100" b="1" spc="-100" dirty="0">
              <a:solidFill>
                <a:schemeClr val="tx1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9048750" y="1340338"/>
            <a:ext cx="914400" cy="914400"/>
          </a:xfrm>
          <a:prstGeom prst="ellipse">
            <a:avLst/>
          </a:prstGeom>
          <a:solidFill>
            <a:srgbClr val="E8C6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050" b="1" spc="-100" dirty="0" smtClean="0">
                <a:solidFill>
                  <a:schemeClr val="tx1"/>
                </a:solidFill>
              </a:rPr>
              <a:t>Выбросы</a:t>
            </a:r>
            <a:r>
              <a:rPr lang="ru-RU" sz="1400" b="1" spc="-100" dirty="0" smtClean="0">
                <a:solidFill>
                  <a:schemeClr val="tx1"/>
                </a:solidFill>
              </a:rPr>
              <a:t> </a:t>
            </a:r>
            <a:r>
              <a:rPr lang="ru-RU" sz="1100" b="1" spc="-100" dirty="0" smtClean="0">
                <a:solidFill>
                  <a:schemeClr val="tx1"/>
                </a:solidFill>
              </a:rPr>
              <a:t>ПГП</a:t>
            </a:r>
            <a:endParaRPr lang="ru-RU" sz="1100" b="1" spc="-100" dirty="0">
              <a:solidFill>
                <a:schemeClr val="tx1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9785128" y="1902612"/>
            <a:ext cx="914400" cy="914400"/>
          </a:xfrm>
          <a:prstGeom prst="ellipse">
            <a:avLst/>
          </a:prstGeom>
          <a:solidFill>
            <a:srgbClr val="8CC7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100" b="1" spc="-100" dirty="0" err="1" smtClean="0">
                <a:solidFill>
                  <a:schemeClr val="tx1"/>
                </a:solidFill>
              </a:rPr>
              <a:t>Энерг</a:t>
            </a:r>
            <a:r>
              <a:rPr lang="ru-RU" sz="1100" b="1" spc="-100" dirty="0" smtClean="0">
                <a:solidFill>
                  <a:schemeClr val="tx1"/>
                </a:solidFill>
              </a:rPr>
              <a:t>. </a:t>
            </a:r>
            <a:r>
              <a:rPr lang="ru-RU" sz="1100" b="1" spc="-100" dirty="0" err="1">
                <a:solidFill>
                  <a:schemeClr val="tx1"/>
                </a:solidFill>
              </a:rPr>
              <a:t>б</a:t>
            </a:r>
            <a:r>
              <a:rPr lang="ru-RU" sz="1100" b="1" spc="-100" dirty="0" err="1" smtClean="0">
                <a:solidFill>
                  <a:schemeClr val="tx1"/>
                </a:solidFill>
              </a:rPr>
              <a:t>езопас-ность</a:t>
            </a:r>
            <a:endParaRPr lang="ru-RU" sz="1100" b="1" spc="-100" dirty="0">
              <a:solidFill>
                <a:schemeClr val="tx1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10263586" y="2683950"/>
            <a:ext cx="890360" cy="914400"/>
          </a:xfrm>
          <a:prstGeom prst="ellipse">
            <a:avLst/>
          </a:prstGeom>
          <a:solidFill>
            <a:srgbClr val="B5D7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100" b="1" kern="1100" spc="-100" dirty="0" smtClean="0">
                <a:solidFill>
                  <a:schemeClr val="tx1"/>
                </a:solidFill>
              </a:rPr>
              <a:t>Распре-деление энергии</a:t>
            </a:r>
            <a:endParaRPr lang="ru-RU" sz="1100" b="1" kern="1100" spc="-100" dirty="0">
              <a:solidFill>
                <a:schemeClr val="tx1"/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10347045" y="3586958"/>
            <a:ext cx="914400" cy="914400"/>
          </a:xfrm>
          <a:prstGeom prst="ellipse">
            <a:avLst/>
          </a:prstGeom>
          <a:solidFill>
            <a:srgbClr val="C7D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050" b="1" dirty="0" err="1" smtClean="0">
                <a:solidFill>
                  <a:schemeClr val="tx1"/>
                </a:solidFill>
              </a:rPr>
              <a:t>Энерг</a:t>
            </a:r>
            <a:r>
              <a:rPr lang="ru-RU" sz="1050" b="1" dirty="0" smtClean="0">
                <a:solidFill>
                  <a:schemeClr val="tx1"/>
                </a:solidFill>
              </a:rPr>
              <a:t>. тарифы</a:t>
            </a: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10068353" y="4470573"/>
            <a:ext cx="914400" cy="914400"/>
          </a:xfrm>
          <a:prstGeom prst="ellipse">
            <a:avLst/>
          </a:prstGeom>
          <a:solidFill>
            <a:srgbClr val="00B3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100" b="1" spc="-100" dirty="0" smtClean="0">
                <a:solidFill>
                  <a:schemeClr val="tx1"/>
                </a:solidFill>
              </a:rPr>
              <a:t>Влияние на макро-экономику</a:t>
            </a:r>
            <a:endParaRPr lang="ru-RU" sz="1100" b="1" spc="-100" dirty="0">
              <a:solidFill>
                <a:schemeClr val="tx1"/>
              </a:solidFill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9491519" y="5173269"/>
            <a:ext cx="914400" cy="914400"/>
          </a:xfrm>
          <a:prstGeom prst="ellipse">
            <a:avLst/>
          </a:prstGeom>
          <a:solidFill>
            <a:srgbClr val="5DBF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100" b="1" spc="-100" dirty="0" err="1" smtClean="0">
                <a:solidFill>
                  <a:schemeClr val="tx1"/>
                </a:solidFill>
              </a:rPr>
              <a:t>Пром</a:t>
            </a:r>
            <a:r>
              <a:rPr lang="ru-RU" sz="1100" b="1" spc="-100" dirty="0" smtClean="0">
                <a:solidFill>
                  <a:schemeClr val="tx1"/>
                </a:solidFill>
              </a:rPr>
              <a:t>. </a:t>
            </a:r>
            <a:r>
              <a:rPr lang="ru-RU" sz="1100" b="1" spc="-100" dirty="0" err="1">
                <a:solidFill>
                  <a:schemeClr val="tx1"/>
                </a:solidFill>
              </a:rPr>
              <a:t>п</a:t>
            </a:r>
            <a:r>
              <a:rPr lang="ru-RU" sz="1100" b="1" spc="-100" dirty="0" err="1" smtClean="0">
                <a:solidFill>
                  <a:schemeClr val="tx1"/>
                </a:solidFill>
              </a:rPr>
              <a:t>роиз-водство</a:t>
            </a:r>
            <a:endParaRPr lang="ru-RU" sz="1100" b="1" spc="-100" dirty="0">
              <a:solidFill>
                <a:schemeClr val="tx1"/>
              </a:solidFill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8635691" y="5498577"/>
            <a:ext cx="914400" cy="914400"/>
          </a:xfrm>
          <a:prstGeom prst="ellipse">
            <a:avLst/>
          </a:prstGeom>
          <a:solidFill>
            <a:srgbClr val="938B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050" b="1" spc="-100" dirty="0" smtClean="0">
                <a:solidFill>
                  <a:schemeClr val="tx1"/>
                </a:solidFill>
              </a:rPr>
              <a:t>Искоренение бедности</a:t>
            </a:r>
            <a:endParaRPr lang="ru-RU" sz="1050" b="1" spc="-100" dirty="0">
              <a:solidFill>
                <a:schemeClr val="tx1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7708278" y="5541801"/>
            <a:ext cx="914400" cy="914400"/>
          </a:xfrm>
          <a:prstGeom prst="ellipse">
            <a:avLst/>
          </a:prstGeom>
          <a:solidFill>
            <a:srgbClr val="B9B7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050" b="1" spc="-100" dirty="0" smtClean="0">
                <a:solidFill>
                  <a:schemeClr val="tx1"/>
                </a:solidFill>
              </a:rPr>
              <a:t>Здоровье и процветание</a:t>
            </a:r>
            <a:endParaRPr lang="ru-RU" sz="1050" b="1" spc="-100" dirty="0">
              <a:solidFill>
                <a:schemeClr val="tx1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6851523" y="5131252"/>
            <a:ext cx="914400" cy="914400"/>
          </a:xfrm>
          <a:prstGeom prst="ellipse">
            <a:avLst/>
          </a:prstGeom>
          <a:solidFill>
            <a:srgbClr val="DFDF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100" b="1" spc="-100" dirty="0" smtClean="0">
                <a:solidFill>
                  <a:schemeClr val="tx1"/>
                </a:solidFill>
              </a:rPr>
              <a:t>Рабочие места</a:t>
            </a:r>
            <a:endParaRPr lang="ru-RU" sz="1100" b="1" spc="-100" dirty="0">
              <a:solidFill>
                <a:schemeClr val="tx1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6229747" y="4470573"/>
            <a:ext cx="914400" cy="914400"/>
          </a:xfrm>
          <a:prstGeom prst="ellipse">
            <a:avLst/>
          </a:prstGeom>
          <a:solidFill>
            <a:srgbClr val="AE77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100" b="1" spc="-100" dirty="0" smtClean="0">
                <a:solidFill>
                  <a:schemeClr val="tx1"/>
                </a:solidFill>
              </a:rPr>
              <a:t>Загряз-</a:t>
            </a:r>
            <a:r>
              <a:rPr lang="ru-RU" sz="1100" b="1" spc="-100" dirty="0" err="1" smtClean="0">
                <a:solidFill>
                  <a:schemeClr val="tx1"/>
                </a:solidFill>
              </a:rPr>
              <a:t>нение</a:t>
            </a:r>
            <a:r>
              <a:rPr lang="ru-RU" sz="1100" b="1" spc="-100" dirty="0" smtClean="0">
                <a:solidFill>
                  <a:schemeClr val="tx1"/>
                </a:solidFill>
              </a:rPr>
              <a:t> воздуха</a:t>
            </a:r>
            <a:endParaRPr lang="ru-RU" sz="1100" b="1" spc="-100" dirty="0">
              <a:solidFill>
                <a:schemeClr val="tx1"/>
              </a:solidFill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5937123" y="3586958"/>
            <a:ext cx="914400" cy="914400"/>
          </a:xfrm>
          <a:prstGeom prst="ellipse">
            <a:avLst/>
          </a:prstGeom>
          <a:solidFill>
            <a:srgbClr val="C295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100" b="1" spc="-100" dirty="0" smtClean="0">
                <a:solidFill>
                  <a:schemeClr val="tx1"/>
                </a:solidFill>
              </a:rPr>
              <a:t>Управление ресурсами</a:t>
            </a:r>
            <a:endParaRPr lang="ru-RU" sz="1100" b="1" spc="-100" dirty="0">
              <a:solidFill>
                <a:schemeClr val="tx1"/>
              </a:solidFill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6012115" y="2693125"/>
            <a:ext cx="914400" cy="914400"/>
          </a:xfrm>
          <a:prstGeom prst="ellipse">
            <a:avLst/>
          </a:prstGeom>
          <a:solidFill>
            <a:srgbClr val="D97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100" b="1" spc="-100" dirty="0" smtClean="0">
                <a:solidFill>
                  <a:schemeClr val="tx1"/>
                </a:solidFill>
              </a:rPr>
              <a:t>Гос. бюджет</a:t>
            </a:r>
            <a:endParaRPr lang="ru-RU" sz="1100" b="1" spc="-100" dirty="0">
              <a:solidFill>
                <a:schemeClr val="tx1"/>
              </a:solidFill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6503031" y="1885019"/>
            <a:ext cx="914400" cy="914400"/>
          </a:xfrm>
          <a:prstGeom prst="ellipse">
            <a:avLst/>
          </a:prstGeom>
          <a:solidFill>
            <a:srgbClr val="E4A9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000"/>
              </a:lnSpc>
            </a:pPr>
            <a:r>
              <a:rPr lang="ru-RU" sz="1100" b="1" spc="-100" dirty="0" smtClean="0">
                <a:solidFill>
                  <a:schemeClr val="tx1"/>
                </a:solidFill>
              </a:rPr>
              <a:t>Чистый доход</a:t>
            </a:r>
            <a:endParaRPr lang="ru-RU" sz="1100" b="1" spc="-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080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6857995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1372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44163" y="0"/>
            <a:ext cx="6428712" cy="4599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ctangle 5"/>
          <p:cNvSpPr/>
          <p:nvPr/>
        </p:nvSpPr>
        <p:spPr>
          <a:xfrm>
            <a:off x="1463271" y="4378037"/>
            <a:ext cx="9083325" cy="193689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" name="TextBox 3"/>
          <p:cNvSpPr txBox="1"/>
          <p:nvPr/>
        </p:nvSpPr>
        <p:spPr>
          <a:xfrm>
            <a:off x="3316239" y="4398080"/>
            <a:ext cx="55595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400" dirty="0" smtClean="0"/>
              <a:t>Спасибо за внимание!</a:t>
            </a:r>
            <a:endParaRPr lang="en-US" sz="44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 rot="16200000">
            <a:off x="2666999" y="-2667004"/>
            <a:ext cx="6858001" cy="121920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10" name="Rectangle 9"/>
          <p:cNvSpPr/>
          <p:nvPr/>
        </p:nvSpPr>
        <p:spPr>
          <a:xfrm rot="16200000">
            <a:off x="5535433" y="-5535438"/>
            <a:ext cx="1121133" cy="1219200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7" name="TextBox 6"/>
          <p:cNvSpPr txBox="1"/>
          <p:nvPr/>
        </p:nvSpPr>
        <p:spPr>
          <a:xfrm>
            <a:off x="2177576" y="252484"/>
            <a:ext cx="7315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</a:rPr>
              <a:t>Мировое потребление энергии</a:t>
            </a:r>
            <a:endParaRPr lang="mk-MK" sz="2800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15" name="Picture Placeholder 2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50129" y="1545856"/>
            <a:ext cx="9091740" cy="4887416"/>
          </a:xfrm>
          <a:prstGeom prst="rect">
            <a:avLst/>
          </a:prstGeom>
        </p:spPr>
      </p:pic>
      <p:grpSp>
        <p:nvGrpSpPr>
          <p:cNvPr id="3" name="Группа 2"/>
          <p:cNvGrpSpPr/>
          <p:nvPr/>
        </p:nvGrpSpPr>
        <p:grpSpPr>
          <a:xfrm>
            <a:off x="8060901" y="2130979"/>
            <a:ext cx="2216955" cy="3800091"/>
            <a:chOff x="8060901" y="2130979"/>
            <a:chExt cx="2216955" cy="3800091"/>
          </a:xfrm>
        </p:grpSpPr>
        <p:sp>
          <p:nvSpPr>
            <p:cNvPr id="2" name="Прямоугольник 1"/>
            <p:cNvSpPr/>
            <p:nvPr/>
          </p:nvSpPr>
          <p:spPr>
            <a:xfrm>
              <a:off x="8095488" y="2130979"/>
              <a:ext cx="2121408" cy="402336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ru-RU" b="1" dirty="0" smtClean="0"/>
                <a:t>Холодоснабжение</a:t>
              </a:r>
              <a:endParaRPr lang="ru-RU" b="1" dirty="0"/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8095488" y="2691718"/>
              <a:ext cx="2121408" cy="402336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ru-RU" b="1" dirty="0" smtClean="0"/>
                <a:t>Промышленность</a:t>
              </a:r>
              <a:endParaRPr lang="ru-RU" b="1" dirty="0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8095488" y="3234888"/>
              <a:ext cx="2121408" cy="402336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ru-RU" b="1" dirty="0" smtClean="0"/>
                <a:t>Жилые здания</a:t>
              </a:r>
              <a:endParaRPr lang="ru-RU" b="1" dirty="0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8095488" y="3788396"/>
              <a:ext cx="2121408" cy="402336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ru-RU" b="1" dirty="0" smtClean="0"/>
                <a:t>Третичный сектор</a:t>
              </a:r>
              <a:endParaRPr lang="ru-RU" b="1" dirty="0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8156448" y="4404926"/>
              <a:ext cx="2121408" cy="402336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ru-RU" b="1" dirty="0" smtClean="0"/>
                <a:t>Сельское/лесное хозяйство</a:t>
              </a:r>
              <a:endParaRPr lang="ru-RU" b="1" dirty="0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8060901" y="4967995"/>
              <a:ext cx="2121408" cy="402336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ru-RU" b="1" dirty="0" smtClean="0"/>
                <a:t>Транспорт</a:t>
              </a:r>
              <a:endParaRPr lang="ru-RU" b="1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8060901" y="5528734"/>
              <a:ext cx="2121408" cy="402336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ru-RU" b="1" dirty="0" smtClean="0"/>
                <a:t>Другие</a:t>
              </a:r>
              <a:endParaRPr lang="ru-RU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085332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 rot="16200000">
            <a:off x="2666999" y="-2667004"/>
            <a:ext cx="6858001" cy="121920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832" y="201349"/>
            <a:ext cx="10515600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Роль холодоснабжения</a:t>
            </a:r>
            <a:r>
              <a:rPr lang="mk-MK" b="1" i="1" dirty="0" smtClean="0"/>
              <a:t/>
            </a:r>
            <a:br>
              <a:rPr lang="mk-MK" b="1" i="1" dirty="0" smtClean="0"/>
            </a:br>
            <a:endParaRPr lang="mk-M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i="1" dirty="0" smtClean="0"/>
              <a:t> </a:t>
            </a:r>
          </a:p>
          <a:p>
            <a:endParaRPr lang="en-US" i="1" dirty="0" smtClean="0"/>
          </a:p>
          <a:p>
            <a:endParaRPr lang="en-US" i="1" dirty="0" smtClean="0"/>
          </a:p>
          <a:p>
            <a:endParaRPr lang="en-US" i="1" dirty="0" smtClean="0"/>
          </a:p>
          <a:p>
            <a:endParaRPr lang="en-US" i="1" dirty="0" smtClean="0"/>
          </a:p>
          <a:p>
            <a:endParaRPr lang="en-US" i="1" dirty="0" smtClean="0"/>
          </a:p>
          <a:p>
            <a:pPr algn="just"/>
            <a:endParaRPr lang="mk-MK" dirty="0" smtClean="0"/>
          </a:p>
          <a:p>
            <a:endParaRPr lang="mk-MK" dirty="0" smtClean="0"/>
          </a:p>
        </p:txBody>
      </p:sp>
      <p:pic>
        <p:nvPicPr>
          <p:cNvPr id="13" name="Content Placeholder 3"/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01820" y="998375"/>
            <a:ext cx="6848670" cy="578507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Овал 3"/>
          <p:cNvSpPr/>
          <p:nvPr/>
        </p:nvSpPr>
        <p:spPr>
          <a:xfrm>
            <a:off x="5084064" y="2926080"/>
            <a:ext cx="2316480" cy="1499616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Хладагенты для жизни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108960" y="1059335"/>
            <a:ext cx="1328928" cy="440281"/>
          </a:xfrm>
          <a:prstGeom prst="roundRect">
            <a:avLst/>
          </a:prstGeom>
          <a:solidFill>
            <a:srgbClr val="C4B5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омфорт</a:t>
            </a:r>
            <a:endParaRPr lang="ru-RU" b="1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767071" y="1086631"/>
            <a:ext cx="1328928" cy="440281"/>
          </a:xfrm>
          <a:prstGeom prst="roundRect">
            <a:avLst/>
          </a:prstGeom>
          <a:solidFill>
            <a:srgbClr val="DCD2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ранспорт</a:t>
            </a:r>
            <a:endParaRPr lang="ru-RU" b="1" dirty="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385048" y="1059335"/>
            <a:ext cx="1328928" cy="440281"/>
          </a:xfrm>
          <a:prstGeom prst="roundRect">
            <a:avLst/>
          </a:prstGeom>
          <a:solidFill>
            <a:srgbClr val="94B4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ехнология</a:t>
            </a:r>
            <a:endParaRPr lang="ru-RU" b="1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8067769" y="1059335"/>
            <a:ext cx="1328928" cy="440281"/>
          </a:xfrm>
          <a:prstGeom prst="roundRect">
            <a:avLst/>
          </a:prstGeom>
          <a:solidFill>
            <a:srgbClr val="66C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бщественные места</a:t>
            </a:r>
            <a:endParaRPr lang="ru-RU" sz="1200" b="1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108960" y="5857059"/>
            <a:ext cx="1328928" cy="440281"/>
          </a:xfrm>
          <a:prstGeom prst="roundRect">
            <a:avLst/>
          </a:prstGeom>
          <a:solidFill>
            <a:srgbClr val="8D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Холодовая</a:t>
            </a:r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цепь</a:t>
            </a:r>
            <a:endParaRPr lang="ru-RU" b="1" dirty="0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767071" y="5857058"/>
            <a:ext cx="1328928" cy="440281"/>
          </a:xfrm>
          <a:prstGeom prst="roundRect">
            <a:avLst/>
          </a:prstGeom>
          <a:solidFill>
            <a:srgbClr val="94B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Здоровье</a:t>
            </a:r>
            <a:endParaRPr lang="ru-RU" b="1" dirty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425182" y="5857058"/>
            <a:ext cx="1328928" cy="440281"/>
          </a:xfrm>
          <a:prstGeom prst="roundRect">
            <a:avLst/>
          </a:prstGeom>
          <a:solidFill>
            <a:srgbClr val="6694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аука</a:t>
            </a:r>
            <a:endParaRPr lang="ru-RU" b="1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7961251" y="5857057"/>
            <a:ext cx="1435446" cy="440281"/>
          </a:xfrm>
          <a:prstGeom prst="roundRect">
            <a:avLst/>
          </a:prstGeom>
          <a:solidFill>
            <a:srgbClr val="6671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Бытовое холодоснабжение</a:t>
            </a: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3769694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 rot="16200000">
            <a:off x="2666999" y="-2667004"/>
            <a:ext cx="6858001" cy="121920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8181894" cy="6858000"/>
          </a:xfrm>
          <a:prstGeom prst="rect">
            <a:avLst/>
          </a:prstGeom>
          <a:solidFill>
            <a:srgbClr val="B6D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TextBox 4"/>
          <p:cNvSpPr txBox="1"/>
          <p:nvPr/>
        </p:nvSpPr>
        <p:spPr>
          <a:xfrm>
            <a:off x="829056" y="455658"/>
            <a:ext cx="102173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Мировое потребление ГФУ как хладагента в секторе ХОКВТН</a:t>
            </a:r>
            <a:endParaRPr lang="id-ID" sz="2800" b="1" dirty="0"/>
          </a:p>
        </p:txBody>
      </p:sp>
      <p:sp>
        <p:nvSpPr>
          <p:cNvPr id="6" name="TextBox 5"/>
          <p:cNvSpPr txBox="1"/>
          <p:nvPr/>
        </p:nvSpPr>
        <p:spPr>
          <a:xfrm rot="20207834">
            <a:off x="2442948" y="3657600"/>
            <a:ext cx="12634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 smtClean="0">
                <a:latin typeface="MV Boli" pitchFamily="2" charset="0"/>
                <a:cs typeface="MV Boli" pitchFamily="2" charset="0"/>
              </a:rPr>
              <a:t>CO</a:t>
            </a:r>
            <a:r>
              <a:rPr lang="en-US" sz="4800" baseline="-25000" dirty="0" smtClean="0">
                <a:latin typeface="MV Boli" pitchFamily="2" charset="0"/>
                <a:cs typeface="MV Boli" pitchFamily="2" charset="0"/>
              </a:rPr>
              <a:t>2</a:t>
            </a:r>
            <a:endParaRPr lang="mk-MK" sz="4800" baseline="-25000" dirty="0">
              <a:cs typeface="MV Boli" pitchFamily="2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33613" y="1602392"/>
            <a:ext cx="9396434" cy="5059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262576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 rot="16200000">
            <a:off x="2666999" y="-2667004"/>
            <a:ext cx="6858001" cy="121920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832" y="201349"/>
            <a:ext cx="10515600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Количество систем ХОКВТН, используемых в мире</a:t>
            </a:r>
            <a:r>
              <a:rPr lang="mk-MK" b="1" i="1" dirty="0" smtClean="0"/>
              <a:t/>
            </a:r>
            <a:br>
              <a:rPr lang="mk-MK" b="1" i="1" dirty="0" smtClean="0"/>
            </a:br>
            <a:endParaRPr lang="mk-M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en-US" i="1" dirty="0" smtClean="0"/>
              <a:t> </a:t>
            </a:r>
          </a:p>
          <a:p>
            <a:endParaRPr lang="en-US" i="1" dirty="0" smtClean="0"/>
          </a:p>
          <a:p>
            <a:endParaRPr lang="en-US" i="1" dirty="0" smtClean="0"/>
          </a:p>
          <a:p>
            <a:endParaRPr lang="en-US" i="1" dirty="0" smtClean="0"/>
          </a:p>
          <a:p>
            <a:endParaRPr lang="en-US" i="1" dirty="0" smtClean="0"/>
          </a:p>
          <a:p>
            <a:endParaRPr lang="en-US" i="1" dirty="0" smtClean="0"/>
          </a:p>
          <a:p>
            <a:pPr algn="just"/>
            <a:endParaRPr lang="mk-MK" dirty="0" smtClean="0"/>
          </a:p>
          <a:p>
            <a:endParaRPr lang="mk-MK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600405" y="6548735"/>
            <a:ext cx="433644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i="1" dirty="0" smtClean="0"/>
              <a:t>Source: TEAP Decision XXVIII/3 Working Group Report on Energy Efficiency, October 2018</a:t>
            </a:r>
            <a:endParaRPr lang="mk-MK" sz="900" dirty="0" smtClean="0"/>
          </a:p>
          <a:p>
            <a:endParaRPr lang="mk-MK" sz="12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6774496"/>
              </p:ext>
            </p:extLst>
          </p:nvPr>
        </p:nvGraphicFramePr>
        <p:xfrm>
          <a:off x="655092" y="887096"/>
          <a:ext cx="10263118" cy="58786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240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68240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70956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18873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19526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Применение</a:t>
                      </a:r>
                      <a:endParaRPr lang="mk-MK" sz="16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Сектор</a:t>
                      </a:r>
                      <a:endParaRPr lang="mk-MK" sz="16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Оборудование</a:t>
                      </a:r>
                      <a:endParaRPr lang="mk-MK" sz="16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Кол-во</a:t>
                      </a:r>
                      <a:endParaRPr lang="mk-MK" sz="16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0478">
                <a:tc rowSpan="4"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Холодильное оборудования</a:t>
                      </a:r>
                      <a:endParaRPr lang="en-US" dirty="0" smtClean="0"/>
                    </a:p>
                    <a:p>
                      <a:pPr algn="ctr"/>
                      <a:r>
                        <a:rPr lang="ru-RU" dirty="0" smtClean="0"/>
                        <a:t>и</a:t>
                      </a:r>
                      <a:r>
                        <a:rPr lang="en-US" dirty="0" smtClean="0"/>
                        <a:t> </a:t>
                      </a:r>
                    </a:p>
                    <a:p>
                      <a:pPr algn="ctr"/>
                      <a:r>
                        <a:rPr lang="ru-RU" dirty="0" smtClean="0"/>
                        <a:t>продукты питания</a:t>
                      </a:r>
                      <a:endParaRPr lang="mk-MK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Бытовое</a:t>
                      </a:r>
                      <a:r>
                        <a:rPr lang="ru-RU" sz="1400" baseline="0" dirty="0" smtClean="0"/>
                        <a:t> </a:t>
                      </a:r>
                      <a:r>
                        <a:rPr lang="ru-RU" sz="1400" dirty="0" smtClean="0"/>
                        <a:t>холодильное</a:t>
                      </a:r>
                      <a:r>
                        <a:rPr lang="ru-RU" sz="1400" baseline="0" dirty="0" smtClean="0"/>
                        <a:t> оборудования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Холодильники и морозильники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.5 </a:t>
                      </a:r>
                      <a:r>
                        <a:rPr lang="ru-RU" sz="1400" dirty="0" smtClean="0"/>
                        <a:t>миллиарда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103817">
                <a:tc vMerge="1">
                  <a:txBody>
                    <a:bodyPr/>
                    <a:lstStyle/>
                    <a:p>
                      <a:endParaRPr lang="mk-M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Коммерческое холодильное</a:t>
                      </a:r>
                      <a:r>
                        <a:rPr lang="ru-RU" sz="1400" baseline="0" dirty="0" smtClean="0"/>
                        <a:t> оборудования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Коммерческие холодильные</a:t>
                      </a:r>
                      <a:r>
                        <a:rPr lang="ru-RU" sz="1400" baseline="0" dirty="0" smtClean="0"/>
                        <a:t> установки</a:t>
                      </a:r>
                      <a:endParaRPr lang="mk-MK" sz="1400" dirty="0" smtClean="0"/>
                    </a:p>
                    <a:p>
                      <a:pPr algn="ctr"/>
                      <a:r>
                        <a:rPr lang="en-US" sz="1400" dirty="0" smtClean="0"/>
                        <a:t>(</a:t>
                      </a:r>
                      <a:r>
                        <a:rPr lang="ru-RU" sz="1400" dirty="0" smtClean="0"/>
                        <a:t>испарители</a:t>
                      </a:r>
                      <a:r>
                        <a:rPr lang="en-US" sz="1400" dirty="0" smtClean="0"/>
                        <a:t>, </a:t>
                      </a:r>
                      <a:r>
                        <a:rPr lang="ru-RU" sz="1400" dirty="0" smtClean="0"/>
                        <a:t>единичные установки</a:t>
                      </a: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и централизованные системы</a:t>
                      </a:r>
                      <a:r>
                        <a:rPr lang="en-US" sz="1400" dirty="0" smtClean="0"/>
                        <a:t>)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 smtClean="0"/>
                    </a:p>
                    <a:p>
                      <a:pPr algn="ctr"/>
                      <a:r>
                        <a:rPr lang="en-US" sz="1400" dirty="0" smtClean="0"/>
                        <a:t>90 </a:t>
                      </a:r>
                      <a:r>
                        <a:rPr lang="ru-RU" sz="1400" dirty="0" smtClean="0"/>
                        <a:t>миллионов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97148">
                <a:tc vMerge="1">
                  <a:txBody>
                    <a:bodyPr/>
                    <a:lstStyle/>
                    <a:p>
                      <a:endParaRPr lang="mk-MK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Мобильное холодильное оборудования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Транспортные рефрижераторы </a:t>
                      </a:r>
                      <a:r>
                        <a:rPr lang="en-US" sz="1400" dirty="0" smtClean="0"/>
                        <a:t>(</a:t>
                      </a:r>
                      <a:r>
                        <a:rPr lang="ru-RU" sz="1400" dirty="0" smtClean="0"/>
                        <a:t>фургоны, грузовики, полуприцепы, прицепы</a:t>
                      </a:r>
                      <a:r>
                        <a:rPr lang="en-US" sz="1400" dirty="0" smtClean="0"/>
                        <a:t>)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4 </a:t>
                      </a:r>
                      <a:r>
                        <a:rPr lang="ru-RU" sz="1400" dirty="0" smtClean="0"/>
                        <a:t>миллиона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93813">
                <a:tc vMerge="1">
                  <a:txBody>
                    <a:bodyPr/>
                    <a:lstStyle/>
                    <a:p>
                      <a:endParaRPr lang="mk-MK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mk-M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Контейнеры рефрижераторы </a:t>
                      </a:r>
                      <a:r>
                        <a:rPr lang="en-US" sz="1400" baseline="0" dirty="0" smtClean="0"/>
                        <a:t>(“reefers”)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.2 </a:t>
                      </a:r>
                      <a:r>
                        <a:rPr lang="ru-RU" sz="1400" dirty="0" smtClean="0"/>
                        <a:t>миллиона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0478">
                <a:tc rowSpan="4"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Кондиционирование воздуха</a:t>
                      </a:r>
                      <a:endParaRPr lang="mk-MK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Кондиционеры воздуха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Охладители воздуха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600 </a:t>
                      </a:r>
                      <a:r>
                        <a:rPr lang="ru-RU" sz="1400" dirty="0" smtClean="0"/>
                        <a:t>миллиона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90478">
                <a:tc vMerge="1">
                  <a:txBody>
                    <a:bodyPr/>
                    <a:lstStyle/>
                    <a:p>
                      <a:endParaRPr lang="mk-MK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mk-M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Чиллеры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.8 </a:t>
                      </a:r>
                      <a:r>
                        <a:rPr lang="ru-RU" sz="1400" dirty="0" smtClean="0"/>
                        <a:t>миллиона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mk-MK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mk-MK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Автомобили с кондиционерами</a:t>
                      </a:r>
                      <a:endParaRPr lang="en-US" sz="1400" baseline="0" dirty="0" smtClean="0"/>
                    </a:p>
                    <a:p>
                      <a:pPr algn="ctr"/>
                      <a:r>
                        <a:rPr lang="en-US" sz="1400" baseline="0" dirty="0" smtClean="0"/>
                        <a:t>(</a:t>
                      </a:r>
                      <a:r>
                        <a:rPr lang="ru-RU" sz="1400" baseline="0" dirty="0" smtClean="0"/>
                        <a:t>пассажирский транспорт</a:t>
                      </a:r>
                      <a:r>
                        <a:rPr lang="en-US" sz="1400" baseline="0" dirty="0" smtClean="0"/>
                        <a:t>, </a:t>
                      </a:r>
                      <a:r>
                        <a:rPr lang="ru-RU" sz="1400" baseline="0" dirty="0" smtClean="0"/>
                        <a:t>торговый транспорт и автобусы</a:t>
                      </a:r>
                      <a:r>
                        <a:rPr lang="en-US" sz="1400" baseline="0" dirty="0" smtClean="0"/>
                        <a:t>)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 sz="1400" dirty="0" smtClean="0"/>
                    </a:p>
                    <a:p>
                      <a:pPr algn="ctr"/>
                      <a:r>
                        <a:rPr lang="en-US" sz="1400" dirty="0" smtClean="0"/>
                        <a:t>700 </a:t>
                      </a:r>
                      <a:r>
                        <a:rPr lang="ru-RU" sz="1400" dirty="0" smtClean="0"/>
                        <a:t>миллиона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832704">
                <a:tc vMerge="1">
                  <a:txBody>
                    <a:bodyPr/>
                    <a:lstStyle/>
                    <a:p>
                      <a:endParaRPr lang="mk-M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Мобильные кондиционеры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mk-MK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mk-MK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103817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Тепловые насосы</a:t>
                      </a:r>
                      <a:endParaRPr lang="mk-MK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Тепловые насосы</a:t>
                      </a:r>
                      <a:endParaRPr lang="en-US" sz="1400" dirty="0" smtClean="0"/>
                    </a:p>
                    <a:p>
                      <a:pPr algn="ctr"/>
                      <a:r>
                        <a:rPr lang="en-US" sz="1400" dirty="0" smtClean="0"/>
                        <a:t>(</a:t>
                      </a:r>
                      <a:r>
                        <a:rPr lang="ru-RU" sz="1400" dirty="0" smtClean="0"/>
                        <a:t>бытовые</a:t>
                      </a:r>
                      <a:r>
                        <a:rPr lang="en-US" sz="1400" dirty="0" smtClean="0"/>
                        <a:t>,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ru-RU" sz="1400" baseline="0" dirty="0" smtClean="0"/>
                        <a:t>коммерческие и промышленные</a:t>
                      </a:r>
                      <a:r>
                        <a:rPr lang="en-US" sz="1400" baseline="0" dirty="0" smtClean="0"/>
                        <a:t>,</a:t>
                      </a:r>
                      <a:r>
                        <a:rPr lang="ru-RU" sz="1400" baseline="0" dirty="0" smtClean="0"/>
                        <a:t> включая кондиционеры воздух-воздух</a:t>
                      </a:r>
                      <a:r>
                        <a:rPr lang="en-US" sz="1400" baseline="0" dirty="0" smtClean="0"/>
                        <a:t>)</a:t>
                      </a:r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160 </a:t>
                      </a:r>
                      <a:r>
                        <a:rPr lang="ru-RU" sz="1400" dirty="0" smtClean="0"/>
                        <a:t>миллиона</a:t>
                      </a:r>
                      <a:endParaRPr lang="mk-MK" sz="1400" dirty="0" smtClean="0"/>
                    </a:p>
                    <a:p>
                      <a:pPr algn="ctr"/>
                      <a:endParaRPr lang="mk-MK" sz="1400" dirty="0"/>
                    </a:p>
                  </a:txBody>
                  <a:tcPr marL="121920" marR="12192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7" name="Rounded Rectangular Callout 6"/>
          <p:cNvSpPr/>
          <p:nvPr/>
        </p:nvSpPr>
        <p:spPr>
          <a:xfrm rot="1675919">
            <a:off x="10059033" y="1671403"/>
            <a:ext cx="2003753" cy="1220529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 ~ 3 </a:t>
            </a:r>
            <a:r>
              <a:rPr lang="ru-RU" b="1" dirty="0" smtClean="0"/>
              <a:t>миллиарда систем и они все потребляют энергию</a:t>
            </a:r>
            <a:endParaRPr lang="mk-MK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 rot="16200000">
            <a:off x="5535433" y="-5535438"/>
            <a:ext cx="1121133" cy="1219200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4" name="L-Shape 3"/>
          <p:cNvSpPr/>
          <p:nvPr/>
        </p:nvSpPr>
        <p:spPr>
          <a:xfrm flipH="1">
            <a:off x="5836053" y="1503771"/>
            <a:ext cx="5941965" cy="5183631"/>
          </a:xfrm>
          <a:prstGeom prst="corner">
            <a:avLst>
              <a:gd name="adj1" fmla="val 59555"/>
              <a:gd name="adj2" fmla="val 66384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7" name="TextBox 6"/>
          <p:cNvSpPr txBox="1"/>
          <p:nvPr/>
        </p:nvSpPr>
        <p:spPr>
          <a:xfrm>
            <a:off x="2177576" y="252484"/>
            <a:ext cx="7315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</a:rPr>
              <a:t>Рос нагрузки холодоснабжения</a:t>
            </a:r>
            <a:endParaRPr lang="mk-MK" sz="2800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15" name="Picture 1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6657" y="1028192"/>
            <a:ext cx="5678805" cy="5659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ectangle 2"/>
          <p:cNvSpPr>
            <a:spLocks noChangeArrowheads="1"/>
          </p:cNvSpPr>
          <p:nvPr/>
        </p:nvSpPr>
        <p:spPr bwMode="auto">
          <a:xfrm>
            <a:off x="6694191" y="6350751"/>
            <a:ext cx="524074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  <a:hlinkClick r:id="rId4"/>
              </a:rPr>
              <a:t>https://www.nytimes.com/2018/05/15/climate/air-conditioning.html</a:t>
            </a:r>
            <a:r>
              <a:rPr kumimoji="0" lang="en-US" sz="11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endParaRPr kumimoji="0" lang="en-US" sz="1800" b="0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07409" y="1233635"/>
            <a:ext cx="3918159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громный спрос на кондиционеры в развивающихся странах- Статьи 5</a:t>
            </a:r>
            <a:endParaRPr lang="en-US" sz="2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ctr">
              <a:lnSpc>
                <a:spcPts val="1800"/>
              </a:lnSpc>
            </a:pP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</a:rPr>
              <a:t>↓</a:t>
            </a:r>
            <a:endParaRPr lang="en-US" sz="2000" b="1" dirty="0">
              <a:solidFill>
                <a:schemeClr val="accent1">
                  <a:lumMod val="50000"/>
                </a:schemeClr>
              </a:solidFill>
            </a:endParaRPr>
          </a:p>
          <a:p>
            <a:pPr algn="ctr">
              <a:lnSpc>
                <a:spcPts val="1800"/>
              </a:lnSpc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Прогнозируется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рост количества кондиционеров по всему миру:</a:t>
            </a:r>
          </a:p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1,6 миллиарда единиц сегодня</a:t>
            </a:r>
          </a:p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↓</a:t>
            </a:r>
          </a:p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          5,6 млрд единиц к 2050 году</a:t>
            </a:r>
          </a:p>
          <a:p>
            <a:pPr algn="ctr"/>
            <a:r>
              <a:rPr lang="ru-RU" sz="1400" dirty="0">
                <a:solidFill>
                  <a:srgbClr val="505050"/>
                </a:solidFill>
              </a:rPr>
              <a:t>(+ 16 800 гигаватт мощности </a:t>
            </a:r>
            <a:r>
              <a:rPr lang="ru-RU" sz="1400" dirty="0" smtClean="0">
                <a:solidFill>
                  <a:srgbClr val="505050"/>
                </a:solidFill>
              </a:rPr>
              <a:t>требуется от электрических сетей, </a:t>
            </a:r>
            <a:r>
              <a:rPr lang="ru-RU" sz="1400" dirty="0">
                <a:solidFill>
                  <a:srgbClr val="505050"/>
                </a:solidFill>
              </a:rPr>
              <a:t>половина </a:t>
            </a:r>
            <a:r>
              <a:rPr lang="ru-RU" sz="1400" dirty="0" smtClean="0">
                <a:solidFill>
                  <a:srgbClr val="505050"/>
                </a:solidFill>
              </a:rPr>
              <a:t>приходится на Китай </a:t>
            </a:r>
            <a:r>
              <a:rPr lang="ru-RU" sz="1400" dirty="0">
                <a:solidFill>
                  <a:srgbClr val="505050"/>
                </a:solidFill>
              </a:rPr>
              <a:t>и </a:t>
            </a:r>
            <a:r>
              <a:rPr lang="ru-RU" sz="1400" dirty="0" smtClean="0">
                <a:solidFill>
                  <a:srgbClr val="505050"/>
                </a:solidFill>
              </a:rPr>
              <a:t>Индию)</a:t>
            </a: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sz="2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endParaRPr lang="ru-RU" sz="2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endParaRPr lang="en-US" sz="2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fontAlgn="t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20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%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бщего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роста мировой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энергии приходится на удовлетворение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спроса на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электроэнергию</a:t>
            </a:r>
            <a:endParaRPr lang="en-US" sz="2000" b="1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5398" y="1121909"/>
            <a:ext cx="4563121" cy="393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extBox 8"/>
          <p:cNvSpPr txBox="1"/>
          <p:nvPr/>
        </p:nvSpPr>
        <p:spPr>
          <a:xfrm>
            <a:off x="1147449" y="2487864"/>
            <a:ext cx="33590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Установлено 569 миллионов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единиц. В 68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раз больше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потребление электроэнергии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на охлаждение, чем в 1990 году</a:t>
            </a:r>
            <a:endParaRPr lang="mk-MK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836053" y="1503771"/>
            <a:ext cx="5941965" cy="5183631"/>
          </a:xfrm>
          <a:prstGeom prst="rect">
            <a:avLst/>
          </a:prstGeom>
          <a:noFill/>
          <a:ln w="38100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67923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2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 rot="16200000">
            <a:off x="2666999" y="-2667004"/>
            <a:ext cx="6858001" cy="121920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3880237" cy="6858000"/>
          </a:xfrm>
          <a:prstGeom prst="rect">
            <a:avLst/>
          </a:prstGeom>
          <a:solidFill>
            <a:srgbClr val="B6D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TextBox 4"/>
          <p:cNvSpPr txBox="1"/>
          <p:nvPr/>
        </p:nvSpPr>
        <p:spPr>
          <a:xfrm>
            <a:off x="1637205" y="343687"/>
            <a:ext cx="97504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Выбросы парниковых газов в мире</a:t>
            </a:r>
            <a:endParaRPr lang="id-ID" sz="2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97282" name="Picture 2" descr="Image result for green house gas emission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51404" y="1471743"/>
            <a:ext cx="9515924" cy="4987239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 rot="20207834">
            <a:off x="2442948" y="3657600"/>
            <a:ext cx="12634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 smtClean="0">
                <a:latin typeface="MV Boli" pitchFamily="2" charset="0"/>
                <a:cs typeface="MV Boli" pitchFamily="2" charset="0"/>
              </a:rPr>
              <a:t>CO</a:t>
            </a:r>
            <a:r>
              <a:rPr lang="en-US" sz="4800" baseline="-25000" dirty="0" smtClean="0">
                <a:latin typeface="MV Boli" pitchFamily="2" charset="0"/>
                <a:cs typeface="MV Boli" pitchFamily="2" charset="0"/>
              </a:rPr>
              <a:t>2</a:t>
            </a:r>
            <a:endParaRPr lang="mk-MK" sz="4800" baseline="-25000" dirty="0">
              <a:cs typeface="MV Boli" pitchFamily="2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138713" y="4959248"/>
            <a:ext cx="222765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~ </a:t>
            </a:r>
            <a:r>
              <a:rPr lang="ru-RU" b="1" dirty="0"/>
              <a:t>15% антропогенного парникового </a:t>
            </a:r>
            <a:r>
              <a:rPr lang="ru-RU" b="1" dirty="0" smtClean="0"/>
              <a:t>эффекта приходится на хладагенты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233473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Базис">
  <a:themeElements>
    <a:clrScheme name="Базис">
      <a:dk1>
        <a:srgbClr val="000000"/>
      </a:dk1>
      <a:lt1>
        <a:srgbClr val="FFFFFF"/>
      </a:lt1>
      <a:dk2>
        <a:srgbClr val="565349"/>
      </a:dk2>
      <a:lt2>
        <a:srgbClr val="DDDDDD"/>
      </a:lt2>
      <a:accent1>
        <a:srgbClr val="A6B727"/>
      </a:accent1>
      <a:accent2>
        <a:srgbClr val="DF5327"/>
      </a:accent2>
      <a:accent3>
        <a:srgbClr val="FE9E00"/>
      </a:accent3>
      <a:accent4>
        <a:srgbClr val="418AB3"/>
      </a:accent4>
      <a:accent5>
        <a:srgbClr val="D7D447"/>
      </a:accent5>
      <a:accent6>
        <a:srgbClr val="818183"/>
      </a:accent6>
      <a:hlink>
        <a:srgbClr val="F59E00"/>
      </a:hlink>
      <a:folHlink>
        <a:srgbClr val="B2B2B2"/>
      </a:folHlink>
    </a:clrScheme>
    <a:fontScheme name="Базис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Базис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90E45F77-AEFC-46EF-A7C1-5B338C297B0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125</TotalTime>
  <Words>2261</Words>
  <Application>Microsoft Office PowerPoint</Application>
  <PresentationFormat>Широкоэкранный</PresentationFormat>
  <Paragraphs>391</Paragraphs>
  <Slides>32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2</vt:i4>
      </vt:variant>
    </vt:vector>
  </HeadingPairs>
  <TitlesOfParts>
    <vt:vector size="44" baseType="lpstr">
      <vt:lpstr>Arial</vt:lpstr>
      <vt:lpstr>Calibri</vt:lpstr>
      <vt:lpstr>Calibri Light</vt:lpstr>
      <vt:lpstr>Corbel</vt:lpstr>
      <vt:lpstr>Montserrat</vt:lpstr>
      <vt:lpstr>Montserrat Alternates ExLight</vt:lpstr>
      <vt:lpstr>MV Boli</vt:lpstr>
      <vt:lpstr>Times New Roman</vt:lpstr>
      <vt:lpstr>Wingdings</vt:lpstr>
      <vt:lpstr>Office Theme</vt:lpstr>
      <vt:lpstr>Базис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Роль холодоснабжения </vt:lpstr>
      <vt:lpstr>Презентация PowerPoint</vt:lpstr>
      <vt:lpstr>Количество систем ХОКВТН, используемых в мире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остижение технического потенциала</vt:lpstr>
      <vt:lpstr>Снижение потребления энергии  оборудованиями ХОКВТН</vt:lpstr>
      <vt:lpstr>Эффективное охлаждение</vt:lpstr>
      <vt:lpstr>Вопросы для рассмотрения …</vt:lpstr>
      <vt:lpstr>Инструменты для максимизации климатических выгод</vt:lpstr>
      <vt:lpstr>Презентация PowerPoint</vt:lpstr>
      <vt:lpstr> - Нормативы-</vt:lpstr>
      <vt:lpstr>Движение вперед и следующие шаги…</vt:lpstr>
      <vt:lpstr>Участие заинтересованных сторон и консультации</vt:lpstr>
      <vt:lpstr>Выгоды от  энерго- эффективности</vt:lpstr>
      <vt:lpstr>Решение проблем</vt:lpstr>
      <vt:lpstr>Методология расчета энергетической эффективности зданий </vt:lpstr>
      <vt:lpstr>Методология расчета энергетической эффективности зданий </vt:lpstr>
      <vt:lpstr>Методология расчета энергетической эффективности зданий </vt:lpstr>
      <vt:lpstr> Энергетическая эффективность технических систем 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user</cp:lastModifiedBy>
  <cp:revision>637</cp:revision>
  <dcterms:created xsi:type="dcterms:W3CDTF">2018-09-06T07:17:23Z</dcterms:created>
  <dcterms:modified xsi:type="dcterms:W3CDTF">2020-01-17T06:30:33Z</dcterms:modified>
  <cp:contentStatus/>
</cp:coreProperties>
</file>